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2.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6.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17.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8.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9.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20.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21.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22.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9"/>
  </p:notesMasterIdLst>
  <p:sldIdLst>
    <p:sldId id="269" r:id="rId2"/>
    <p:sldId id="350" r:id="rId3"/>
    <p:sldId id="336" r:id="rId4"/>
    <p:sldId id="431" r:id="rId5"/>
    <p:sldId id="576" r:id="rId6"/>
    <p:sldId id="459" r:id="rId7"/>
    <p:sldId id="505" r:id="rId8"/>
    <p:sldId id="575" r:id="rId9"/>
    <p:sldId id="574" r:id="rId10"/>
    <p:sldId id="572" r:id="rId11"/>
    <p:sldId id="588" r:id="rId12"/>
    <p:sldId id="573" r:id="rId13"/>
    <p:sldId id="581" r:id="rId14"/>
    <p:sldId id="531" r:id="rId15"/>
    <p:sldId id="436" r:id="rId16"/>
    <p:sldId id="527" r:id="rId17"/>
    <p:sldId id="562" r:id="rId18"/>
    <p:sldId id="563" r:id="rId19"/>
    <p:sldId id="460" r:id="rId20"/>
    <p:sldId id="550" r:id="rId21"/>
    <p:sldId id="569" r:id="rId22"/>
    <p:sldId id="458" r:id="rId23"/>
    <p:sldId id="555" r:id="rId24"/>
    <p:sldId id="521" r:id="rId25"/>
    <p:sldId id="541" r:id="rId26"/>
    <p:sldId id="570" r:id="rId27"/>
    <p:sldId id="522" r:id="rId28"/>
    <p:sldId id="524" r:id="rId29"/>
    <p:sldId id="559" r:id="rId30"/>
    <p:sldId id="523" r:id="rId31"/>
    <p:sldId id="582" r:id="rId32"/>
    <p:sldId id="587" r:id="rId33"/>
    <p:sldId id="532" r:id="rId34"/>
    <p:sldId id="540" r:id="rId35"/>
    <p:sldId id="538" r:id="rId36"/>
    <p:sldId id="553" r:id="rId37"/>
    <p:sldId id="560" r:id="rId38"/>
    <p:sldId id="435" r:id="rId39"/>
    <p:sldId id="551" r:id="rId40"/>
    <p:sldId id="564" r:id="rId41"/>
    <p:sldId id="525" r:id="rId42"/>
    <p:sldId id="561" r:id="rId43"/>
    <p:sldId id="571" r:id="rId44"/>
    <p:sldId id="533" r:id="rId45"/>
    <p:sldId id="526" r:id="rId46"/>
    <p:sldId id="536" r:id="rId47"/>
    <p:sldId id="528" r:id="rId48"/>
    <p:sldId id="583" r:id="rId49"/>
    <p:sldId id="441" r:id="rId50"/>
    <p:sldId id="453" r:id="rId51"/>
    <p:sldId id="535" r:id="rId52"/>
    <p:sldId id="450" r:id="rId53"/>
    <p:sldId id="552" r:id="rId54"/>
    <p:sldId id="579" r:id="rId55"/>
    <p:sldId id="585" r:id="rId56"/>
    <p:sldId id="426" r:id="rId57"/>
    <p:sldId id="586" r:id="rId58"/>
    <p:sldId id="439" r:id="rId59"/>
    <p:sldId id="444" r:id="rId60"/>
    <p:sldId id="547" r:id="rId61"/>
    <p:sldId id="530" r:id="rId62"/>
    <p:sldId id="537" r:id="rId63"/>
    <p:sldId id="529" r:id="rId64"/>
    <p:sldId id="462" r:id="rId65"/>
    <p:sldId id="534" r:id="rId66"/>
    <p:sldId id="489" r:id="rId67"/>
    <p:sldId id="548" r:id="rId68"/>
    <p:sldId id="437" r:id="rId69"/>
    <p:sldId id="584" r:id="rId70"/>
    <p:sldId id="580" r:id="rId71"/>
    <p:sldId id="420" r:id="rId72"/>
    <p:sldId id="543" r:id="rId73"/>
    <p:sldId id="454" r:id="rId74"/>
    <p:sldId id="554" r:id="rId75"/>
    <p:sldId id="497" r:id="rId76"/>
    <p:sldId id="542" r:id="rId77"/>
    <p:sldId id="577" r:id="rId78"/>
    <p:sldId id="433" r:id="rId79"/>
    <p:sldId id="490" r:id="rId80"/>
    <p:sldId id="467" r:id="rId81"/>
    <p:sldId id="457" r:id="rId82"/>
    <p:sldId id="578" r:id="rId83"/>
    <p:sldId id="452" r:id="rId84"/>
    <p:sldId id="471" r:id="rId85"/>
    <p:sldId id="456" r:id="rId86"/>
    <p:sldId id="480" r:id="rId87"/>
    <p:sldId id="311" r:id="rId88"/>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hle Magubane" initials="SM" lastIdx="2" clrIdx="0">
    <p:extLst>
      <p:ext uri="{19B8F6BF-5375-455C-9EA6-DF929625EA0E}">
        <p15:presenceInfo xmlns:p15="http://schemas.microsoft.com/office/powerpoint/2012/main" userId="S-1-5-21-3555738450-293899081-3486369834-9347" providerId="AD"/>
      </p:ext>
    </p:extLst>
  </p:cmAuthor>
  <p:cmAuthor id="2" name="Amir Rezaei" initials="AR" lastIdx="2" clrIdx="1">
    <p:extLst>
      <p:ext uri="{19B8F6BF-5375-455C-9EA6-DF929625EA0E}">
        <p15:presenceInfo xmlns:p15="http://schemas.microsoft.com/office/powerpoint/2012/main" userId="S-1-5-21-3555738450-293899081-3486369834-11557" providerId="AD"/>
      </p:ext>
    </p:extLst>
  </p:cmAuthor>
  <p:cmAuthor id="3" name="Amir Rezaei" initials="AR [2]" lastIdx="2" clrIdx="2">
    <p:extLst>
      <p:ext uri="{19B8F6BF-5375-455C-9EA6-DF929625EA0E}">
        <p15:presenceInfo xmlns:p15="http://schemas.microsoft.com/office/powerpoint/2012/main" userId="nutY81l62r5i05h5GFL/NnZIcv4xq+l4fy9pv53NVf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2624"/>
    <a:srgbClr val="BBA869"/>
    <a:srgbClr val="FFFCDC"/>
    <a:srgbClr val="F7F7F7"/>
    <a:srgbClr val="998262"/>
    <a:srgbClr val="F7E7AB"/>
    <a:srgbClr val="540000"/>
    <a:srgbClr val="776D00"/>
    <a:srgbClr val="E3DCC3"/>
    <a:srgbClr val="005C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0FC5FA-25C1-483A-8EEC-64A9D44C50D0}" v="200" dt="2020-05-01T16:13:45.336"/>
    <p1510:client id="{11609F83-3E52-4FC5-90C5-645787F6A919}" v="37" dt="2020-04-07T06:39:05.173"/>
    <p1510:client id="{2846D9CE-EFE8-4E07-A59B-11B22B2BB004}" v="70" dt="2020-04-08T07:56:38.874"/>
    <p1510:client id="{28967F0A-4908-45F9-851A-B60988F0CA83}" v="43" dt="2020-04-06T12:33:30.770"/>
    <p1510:client id="{37218750-2F94-4AD5-B874-BE289B041EEE}" v="196" dt="2020-04-06T22:07:43.955"/>
    <p1510:client id="{3988C3D0-614D-419B-82D1-0F93555A42DD}" v="42" dt="2020-04-07T12:01:31.989"/>
    <p1510:client id="{3B7601B9-6430-42F3-B0AF-8BB101098129}" v="9" dt="2020-04-24T14:47:30.796"/>
    <p1510:client id="{406F115D-AEE0-4295-A67A-7D65432D8B3D}" v="15" dt="2020-04-06T10:12:31.811"/>
    <p1510:client id="{4AC15307-AF23-4752-8C30-B41552F9CA01}" v="32" dt="2020-04-16T12:10:39.807"/>
    <p1510:client id="{57DE11D7-D3D2-410C-99F0-E705862E64A8}" v="434" dt="2020-04-15T10:37:12.574"/>
    <p1510:client id="{730976FB-385A-4D6D-93A4-4FDE559E1B1C}" v="112" dt="2020-04-16T14:41:43.388"/>
    <p1510:client id="{847AF59E-57FC-4FCA-8700-89BFC5439D73}" v="103" dt="2020-04-06T11:16:51.987"/>
    <p1510:client id="{85D34C6E-8AC8-4C78-9D16-DA7FC1EB5F72}" v="196" dt="2020-04-06T14:15:51.145"/>
    <p1510:client id="{907BF4AC-CA3B-44BC-B5BD-D1C8C0A2BB92}" v="341" dt="2020-04-06T20:06:05.597"/>
    <p1510:client id="{950EC355-FD8C-4248-96F9-4E3933660D10}" v="54" dt="2020-04-06T09:12:28.950"/>
    <p1510:client id="{9C8FDE32-E0B0-463B-9A28-CB6ADC16ABBB}" v="1" dt="2020-04-16T13:39:57.787"/>
    <p1510:client id="{9FF60AC5-9CC1-428C-AFB2-37982C7B2678}" v="938" dt="2020-04-16T17:10:49.856"/>
    <p1510:client id="{A129E867-E62D-468D-A560-A3C0F9B5B8B4}" v="2" dt="2020-04-06T09:56:24.043"/>
    <p1510:client id="{AFDF1980-D51A-40F7-B6C8-082D9338848E}" v="1587" dt="2020-03-30T11:02:12.400"/>
    <p1510:client id="{BAD65814-2D0A-4D75-8E10-072F8F2674A5}" v="15" dt="2020-04-06T09:34:19.180"/>
    <p1510:client id="{CFB3B2CE-CD4A-4ADD-8A19-7D0C16DD647F}" v="18" dt="2020-04-24T10:15:28.609"/>
    <p1510:client id="{E5BE99DD-673C-4999-850E-42DB0AE6E37A}" v="7" dt="2020-04-06T11:46:45.902"/>
    <p1510:client id="{E99790B3-5C14-4F21-9CDD-3095ED99E02D}" v="575" dt="2020-04-08T13:07:13.993"/>
    <p1510:client id="{EDE2D5A8-DD6B-4710-8B92-F986544D6464}" v="97" dt="2020-04-06T12:02:04.8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96" autoAdjust="0"/>
    <p:restoredTop sz="94377" autoAdjust="0"/>
  </p:normalViewPr>
  <p:slideViewPr>
    <p:cSldViewPr snapToGrid="0">
      <p:cViewPr varScale="1">
        <p:scale>
          <a:sx n="84" d="100"/>
          <a:sy n="84" d="100"/>
        </p:scale>
        <p:origin x="18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notesMaster" Target="notesMasters/notesMaster1.xml"/><Relationship Id="rId97" Type="http://schemas.microsoft.com/office/2015/10/relationships/revisionInfo" Target="revisionInfo.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tags" Target="tags/tag1.xml"/><Relationship Id="rId95"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commentAuthors" Target="commentAuthors.xml"/><Relationship Id="rId9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clId="Web-{E5BE99DD-673C-4999-850E-42DB0AE6E37A}"/>
    <pc:docChg chg="modSld">
      <pc:chgData name="" userId="" providerId="" clId="Web-{E5BE99DD-673C-4999-850E-42DB0AE6E37A}" dt="2020-04-06T11:46:45.902" v="6" actId="20577"/>
      <pc:docMkLst>
        <pc:docMk/>
      </pc:docMkLst>
      <pc:sldChg chg="modSp">
        <pc:chgData name="" userId="" providerId="" clId="Web-{E5BE99DD-673C-4999-850E-42DB0AE6E37A}" dt="2020-04-06T11:46:04.433" v="2" actId="20577"/>
        <pc:sldMkLst>
          <pc:docMk/>
          <pc:sldMk cId="315438383" sldId="471"/>
        </pc:sldMkLst>
        <pc:spChg chg="mod">
          <ac:chgData name="" userId="" providerId="" clId="Web-{E5BE99DD-673C-4999-850E-42DB0AE6E37A}" dt="2020-04-06T11:46:04.433" v="2" actId="20577"/>
          <ac:spMkLst>
            <pc:docMk/>
            <pc:sldMk cId="315438383" sldId="471"/>
            <ac:spMk id="5" creationId="{00000000-0000-0000-0000-000000000000}"/>
          </ac:spMkLst>
        </pc:spChg>
      </pc:sldChg>
      <pc:sldChg chg="modSp">
        <pc:chgData name="" userId="" providerId="" clId="Web-{E5BE99DD-673C-4999-850E-42DB0AE6E37A}" dt="2020-04-06T11:46:45.886" v="5" actId="20577"/>
        <pc:sldMkLst>
          <pc:docMk/>
          <pc:sldMk cId="3068488975" sldId="530"/>
        </pc:sldMkLst>
        <pc:spChg chg="mod">
          <ac:chgData name="" userId="" providerId="" clId="Web-{E5BE99DD-673C-4999-850E-42DB0AE6E37A}" dt="2020-04-06T11:46:45.886" v="5" actId="20577"/>
          <ac:spMkLst>
            <pc:docMk/>
            <pc:sldMk cId="3068488975" sldId="530"/>
            <ac:spMk id="5" creationId="{00000000-0000-0000-0000-000000000000}"/>
          </ac:spMkLst>
        </pc:spChg>
      </pc:sldChg>
      <pc:sldChg chg="modSp">
        <pc:chgData name="" userId="" providerId="" clId="Web-{E5BE99DD-673C-4999-850E-42DB0AE6E37A}" dt="2020-04-06T11:44:40.151" v="1" actId="20577"/>
        <pc:sldMkLst>
          <pc:docMk/>
          <pc:sldMk cId="2735601006" sldId="552"/>
        </pc:sldMkLst>
        <pc:spChg chg="mod">
          <ac:chgData name="" userId="" providerId="" clId="Web-{E5BE99DD-673C-4999-850E-42DB0AE6E37A}" dt="2020-04-06T11:44:40.151" v="1" actId="20577"/>
          <ac:spMkLst>
            <pc:docMk/>
            <pc:sldMk cId="2735601006" sldId="552"/>
            <ac:spMk id="5" creationId="{00000000-0000-0000-0000-000000000000}"/>
          </ac:spMkLst>
        </pc:spChg>
      </pc:sldChg>
    </pc:docChg>
  </pc:docChgLst>
  <pc:docChgLst>
    <pc:chgData clId="Web-{E99790B3-5C14-4F21-9CDD-3095ED99E02D}"/>
    <pc:docChg chg="modSld">
      <pc:chgData name="" userId="" providerId="" clId="Web-{E99790B3-5C14-4F21-9CDD-3095ED99E02D}" dt="2020-04-08T13:07:11.728" v="541" actId="20577"/>
      <pc:docMkLst>
        <pc:docMk/>
      </pc:docMkLst>
      <pc:sldChg chg="modSp">
        <pc:chgData name="" userId="" providerId="" clId="Web-{E99790B3-5C14-4F21-9CDD-3095ED99E02D}" dt="2020-04-08T12:22:59.573" v="65" actId="20577"/>
        <pc:sldMkLst>
          <pc:docMk/>
          <pc:sldMk cId="1597860656" sldId="437"/>
        </pc:sldMkLst>
        <pc:spChg chg="mod">
          <ac:chgData name="" userId="" providerId="" clId="Web-{E99790B3-5C14-4F21-9CDD-3095ED99E02D}" dt="2020-04-08T12:22:59.573" v="65" actId="20577"/>
          <ac:spMkLst>
            <pc:docMk/>
            <pc:sldMk cId="1597860656" sldId="437"/>
            <ac:spMk id="3" creationId="{00000000-0000-0000-0000-000000000000}"/>
          </ac:spMkLst>
        </pc:spChg>
      </pc:sldChg>
      <pc:sldChg chg="modSp">
        <pc:chgData name="" userId="" providerId="" clId="Web-{E99790B3-5C14-4F21-9CDD-3095ED99E02D}" dt="2020-04-08T12:36:54.769" v="255" actId="20577"/>
        <pc:sldMkLst>
          <pc:docMk/>
          <pc:sldMk cId="166306973" sldId="439"/>
        </pc:sldMkLst>
        <pc:spChg chg="mod">
          <ac:chgData name="" userId="" providerId="" clId="Web-{E99790B3-5C14-4F21-9CDD-3095ED99E02D}" dt="2020-04-08T12:36:03.877" v="241" actId="20577"/>
          <ac:spMkLst>
            <pc:docMk/>
            <pc:sldMk cId="166306973" sldId="439"/>
            <ac:spMk id="3" creationId="{00000000-0000-0000-0000-000000000000}"/>
          </ac:spMkLst>
        </pc:spChg>
        <pc:spChg chg="mod">
          <ac:chgData name="" userId="" providerId="" clId="Web-{E99790B3-5C14-4F21-9CDD-3095ED99E02D}" dt="2020-04-08T12:36:54.769" v="255" actId="20577"/>
          <ac:spMkLst>
            <pc:docMk/>
            <pc:sldMk cId="166306973" sldId="439"/>
            <ac:spMk id="9" creationId="{00000000-0000-0000-0000-000000000000}"/>
          </ac:spMkLst>
        </pc:spChg>
      </pc:sldChg>
      <pc:sldChg chg="modSp">
        <pc:chgData name="" userId="" providerId="" clId="Web-{E99790B3-5C14-4F21-9CDD-3095ED99E02D}" dt="2020-04-08T12:35:13.922" v="239" actId="20577"/>
        <pc:sldMkLst>
          <pc:docMk/>
          <pc:sldMk cId="4281815875" sldId="444"/>
        </pc:sldMkLst>
        <pc:spChg chg="mod">
          <ac:chgData name="" userId="" providerId="" clId="Web-{E99790B3-5C14-4F21-9CDD-3095ED99E02D}" dt="2020-04-08T12:35:13.922" v="239" actId="20577"/>
          <ac:spMkLst>
            <pc:docMk/>
            <pc:sldMk cId="4281815875" sldId="444"/>
            <ac:spMk id="3" creationId="{00000000-0000-0000-0000-000000000000}"/>
          </ac:spMkLst>
        </pc:spChg>
      </pc:sldChg>
      <pc:sldChg chg="modSp">
        <pc:chgData name="" userId="" providerId="" clId="Web-{E99790B3-5C14-4F21-9CDD-3095ED99E02D}" dt="2020-04-08T12:49:58.870" v="322" actId="20577"/>
        <pc:sldMkLst>
          <pc:docMk/>
          <pc:sldMk cId="1520409628" sldId="453"/>
        </pc:sldMkLst>
        <pc:spChg chg="mod">
          <ac:chgData name="" userId="" providerId="" clId="Web-{E99790B3-5C14-4F21-9CDD-3095ED99E02D}" dt="2020-04-08T12:49:58.870" v="322" actId="20577"/>
          <ac:spMkLst>
            <pc:docMk/>
            <pc:sldMk cId="1520409628" sldId="453"/>
            <ac:spMk id="3" creationId="{00000000-0000-0000-0000-000000000000}"/>
          </ac:spMkLst>
        </pc:spChg>
      </pc:sldChg>
      <pc:sldChg chg="modSp">
        <pc:chgData name="" userId="" providerId="" clId="Web-{E99790B3-5C14-4F21-9CDD-3095ED99E02D}" dt="2020-04-08T12:29:35.772" v="164" actId="20577"/>
        <pc:sldMkLst>
          <pc:docMk/>
          <pc:sldMk cId="2685192991" sldId="462"/>
        </pc:sldMkLst>
        <pc:spChg chg="mod">
          <ac:chgData name="" userId="" providerId="" clId="Web-{E99790B3-5C14-4F21-9CDD-3095ED99E02D}" dt="2020-04-08T12:29:16.115" v="160" actId="20577"/>
          <ac:spMkLst>
            <pc:docMk/>
            <pc:sldMk cId="2685192991" sldId="462"/>
            <ac:spMk id="3" creationId="{00000000-0000-0000-0000-000000000000}"/>
          </ac:spMkLst>
        </pc:spChg>
        <pc:spChg chg="mod">
          <ac:chgData name="" userId="" providerId="" clId="Web-{E99790B3-5C14-4F21-9CDD-3095ED99E02D}" dt="2020-04-08T12:29:35.772" v="164" actId="20577"/>
          <ac:spMkLst>
            <pc:docMk/>
            <pc:sldMk cId="2685192991" sldId="462"/>
            <ac:spMk id="9" creationId="{00000000-0000-0000-0000-000000000000}"/>
          </ac:spMkLst>
        </pc:spChg>
      </pc:sldChg>
      <pc:sldChg chg="modSp">
        <pc:chgData name="" userId="" providerId="" clId="Web-{E99790B3-5C14-4F21-9CDD-3095ED99E02D}" dt="2020-04-08T12:19:12.332" v="4" actId="20577"/>
        <pc:sldMkLst>
          <pc:docMk/>
          <pc:sldMk cId="315438383" sldId="471"/>
        </pc:sldMkLst>
        <pc:spChg chg="mod">
          <ac:chgData name="" userId="" providerId="" clId="Web-{E99790B3-5C14-4F21-9CDD-3095ED99E02D}" dt="2020-04-08T12:19:12.332" v="4" actId="20577"/>
          <ac:spMkLst>
            <pc:docMk/>
            <pc:sldMk cId="315438383" sldId="471"/>
            <ac:spMk id="3" creationId="{00000000-0000-0000-0000-000000000000}"/>
          </ac:spMkLst>
        </pc:spChg>
      </pc:sldChg>
      <pc:sldChg chg="modSp">
        <pc:chgData name="" userId="" providerId="" clId="Web-{E99790B3-5C14-4F21-9CDD-3095ED99E02D}" dt="2020-04-08T12:26:31.407" v="111" actId="20577"/>
        <pc:sldMkLst>
          <pc:docMk/>
          <pc:sldMk cId="3064519310" sldId="489"/>
        </pc:sldMkLst>
        <pc:spChg chg="mod">
          <ac:chgData name="" userId="" providerId="" clId="Web-{E99790B3-5C14-4F21-9CDD-3095ED99E02D}" dt="2020-04-08T12:26:31.407" v="111" actId="20577"/>
          <ac:spMkLst>
            <pc:docMk/>
            <pc:sldMk cId="3064519310" sldId="489"/>
            <ac:spMk id="3" creationId="{00000000-0000-0000-0000-000000000000}"/>
          </ac:spMkLst>
        </pc:spChg>
      </pc:sldChg>
      <pc:sldChg chg="modSp">
        <pc:chgData name="" userId="" providerId="" clId="Web-{E99790B3-5C14-4F21-9CDD-3095ED99E02D}" dt="2020-04-08T13:05:02.271" v="524" actId="20577"/>
        <pc:sldMkLst>
          <pc:docMk/>
          <pc:sldMk cId="2304267501" sldId="526"/>
        </pc:sldMkLst>
        <pc:spChg chg="mod">
          <ac:chgData name="" userId="" providerId="" clId="Web-{E99790B3-5C14-4F21-9CDD-3095ED99E02D}" dt="2020-04-08T13:05:02.271" v="524" actId="20577"/>
          <ac:spMkLst>
            <pc:docMk/>
            <pc:sldMk cId="2304267501" sldId="526"/>
            <ac:spMk id="3" creationId="{00000000-0000-0000-0000-000000000000}"/>
          </ac:spMkLst>
        </pc:spChg>
        <pc:spChg chg="mod">
          <ac:chgData name="" userId="" providerId="" clId="Web-{E99790B3-5C14-4F21-9CDD-3095ED99E02D}" dt="2020-04-08T12:56:54.430" v="394" actId="20577"/>
          <ac:spMkLst>
            <pc:docMk/>
            <pc:sldMk cId="2304267501" sldId="526"/>
            <ac:spMk id="9" creationId="{00000000-0000-0000-0000-000000000000}"/>
          </ac:spMkLst>
        </pc:spChg>
      </pc:sldChg>
      <pc:sldChg chg="modSp">
        <pc:chgData name="" userId="" providerId="" clId="Web-{E99790B3-5C14-4F21-9CDD-3095ED99E02D}" dt="2020-04-08T12:30:23.429" v="179" actId="20577"/>
        <pc:sldMkLst>
          <pc:docMk/>
          <pc:sldMk cId="479632970" sldId="529"/>
        </pc:sldMkLst>
        <pc:spChg chg="mod">
          <ac:chgData name="" userId="" providerId="" clId="Web-{E99790B3-5C14-4F21-9CDD-3095ED99E02D}" dt="2020-04-08T12:30:23.429" v="179" actId="20577"/>
          <ac:spMkLst>
            <pc:docMk/>
            <pc:sldMk cId="479632970" sldId="529"/>
            <ac:spMk id="3" creationId="{00000000-0000-0000-0000-000000000000}"/>
          </ac:spMkLst>
        </pc:spChg>
      </pc:sldChg>
      <pc:sldChg chg="modSp">
        <pc:chgData name="" userId="" providerId="" clId="Web-{E99790B3-5C14-4F21-9CDD-3095ED99E02D}" dt="2020-04-08T12:32:50.074" v="207" actId="20577"/>
        <pc:sldMkLst>
          <pc:docMk/>
          <pc:sldMk cId="3068488975" sldId="530"/>
        </pc:sldMkLst>
        <pc:spChg chg="mod">
          <ac:chgData name="" userId="" providerId="" clId="Web-{E99790B3-5C14-4F21-9CDD-3095ED99E02D}" dt="2020-04-08T12:32:50.074" v="207" actId="20577"/>
          <ac:spMkLst>
            <pc:docMk/>
            <pc:sldMk cId="3068488975" sldId="530"/>
            <ac:spMk id="3" creationId="{00000000-0000-0000-0000-000000000000}"/>
          </ac:spMkLst>
        </pc:spChg>
      </pc:sldChg>
      <pc:sldChg chg="modSp">
        <pc:chgData name="" userId="" providerId="" clId="Web-{E99790B3-5C14-4F21-9CDD-3095ED99E02D}" dt="2020-04-08T13:07:11.728" v="541" actId="20577"/>
        <pc:sldMkLst>
          <pc:docMk/>
          <pc:sldMk cId="1821882584" sldId="532"/>
        </pc:sldMkLst>
        <pc:spChg chg="mod">
          <ac:chgData name="" userId="" providerId="" clId="Web-{E99790B3-5C14-4F21-9CDD-3095ED99E02D}" dt="2020-04-08T13:06:53.962" v="532" actId="20577"/>
          <ac:spMkLst>
            <pc:docMk/>
            <pc:sldMk cId="1821882584" sldId="532"/>
            <ac:spMk id="3" creationId="{00000000-0000-0000-0000-000000000000}"/>
          </ac:spMkLst>
        </pc:spChg>
        <pc:spChg chg="mod">
          <ac:chgData name="" userId="" providerId="" clId="Web-{E99790B3-5C14-4F21-9CDD-3095ED99E02D}" dt="2020-04-08T13:07:11.728" v="541" actId="20577"/>
          <ac:spMkLst>
            <pc:docMk/>
            <pc:sldMk cId="1821882584" sldId="532"/>
            <ac:spMk id="9" creationId="{00000000-0000-0000-0000-000000000000}"/>
          </ac:spMkLst>
        </pc:spChg>
      </pc:sldChg>
      <pc:sldChg chg="modSp">
        <pc:chgData name="" userId="" providerId="" clId="Web-{E99790B3-5C14-4F21-9CDD-3095ED99E02D}" dt="2020-04-08T12:28:49.364" v="158" actId="20577"/>
        <pc:sldMkLst>
          <pc:docMk/>
          <pc:sldMk cId="1737638578" sldId="534"/>
        </pc:sldMkLst>
        <pc:spChg chg="mod">
          <ac:chgData name="" userId="" providerId="" clId="Web-{E99790B3-5C14-4F21-9CDD-3095ED99E02D}" dt="2020-04-08T12:28:49.364" v="158" actId="20577"/>
          <ac:spMkLst>
            <pc:docMk/>
            <pc:sldMk cId="1737638578" sldId="534"/>
            <ac:spMk id="3" creationId="{00000000-0000-0000-0000-000000000000}"/>
          </ac:spMkLst>
        </pc:spChg>
      </pc:sldChg>
      <pc:sldChg chg="modSp">
        <pc:chgData name="" userId="" providerId="" clId="Web-{E99790B3-5C14-4F21-9CDD-3095ED99E02D}" dt="2020-04-08T12:49:49.526" v="321" actId="20577"/>
        <pc:sldMkLst>
          <pc:docMk/>
          <pc:sldMk cId="464413559" sldId="535"/>
        </pc:sldMkLst>
        <pc:spChg chg="mod">
          <ac:chgData name="" userId="" providerId="" clId="Web-{E99790B3-5C14-4F21-9CDD-3095ED99E02D}" dt="2020-04-08T12:49:49.526" v="321" actId="20577"/>
          <ac:spMkLst>
            <pc:docMk/>
            <pc:sldMk cId="464413559" sldId="535"/>
            <ac:spMk id="3" creationId="{00000000-0000-0000-0000-000000000000}"/>
          </ac:spMkLst>
        </pc:spChg>
      </pc:sldChg>
      <pc:sldChg chg="modSp">
        <pc:chgData name="" userId="" providerId="" clId="Web-{E99790B3-5C14-4F21-9CDD-3095ED99E02D}" dt="2020-04-08T12:53:36.267" v="385" actId="20577"/>
        <pc:sldMkLst>
          <pc:docMk/>
          <pc:sldMk cId="3339981559" sldId="536"/>
        </pc:sldMkLst>
        <pc:spChg chg="mod">
          <ac:chgData name="" userId="" providerId="" clId="Web-{E99790B3-5C14-4F21-9CDD-3095ED99E02D}" dt="2020-04-08T12:50:52.215" v="329" actId="20577"/>
          <ac:spMkLst>
            <pc:docMk/>
            <pc:sldMk cId="3339981559" sldId="536"/>
            <ac:spMk id="3" creationId="{00000000-0000-0000-0000-000000000000}"/>
          </ac:spMkLst>
        </pc:spChg>
        <pc:spChg chg="mod">
          <ac:chgData name="" userId="" providerId="" clId="Web-{E99790B3-5C14-4F21-9CDD-3095ED99E02D}" dt="2020-04-08T12:53:36.267" v="385" actId="20577"/>
          <ac:spMkLst>
            <pc:docMk/>
            <pc:sldMk cId="3339981559" sldId="536"/>
            <ac:spMk id="9" creationId="{00000000-0000-0000-0000-000000000000}"/>
          </ac:spMkLst>
        </pc:spChg>
      </pc:sldChg>
      <pc:sldChg chg="modSp">
        <pc:chgData name="" userId="" providerId="" clId="Web-{E99790B3-5C14-4F21-9CDD-3095ED99E02D}" dt="2020-04-08T12:32:13.292" v="204" actId="20577"/>
        <pc:sldMkLst>
          <pc:docMk/>
          <pc:sldMk cId="2611977730" sldId="537"/>
        </pc:sldMkLst>
        <pc:spChg chg="mod">
          <ac:chgData name="" userId="" providerId="" clId="Web-{E99790B3-5C14-4F21-9CDD-3095ED99E02D}" dt="2020-04-08T12:32:13.292" v="204" actId="20577"/>
          <ac:spMkLst>
            <pc:docMk/>
            <pc:sldMk cId="2611977730" sldId="537"/>
            <ac:spMk id="3" creationId="{00000000-0000-0000-0000-000000000000}"/>
          </ac:spMkLst>
        </pc:spChg>
      </pc:sldChg>
      <pc:sldChg chg="modSp">
        <pc:chgData name="" userId="" providerId="" clId="Web-{E99790B3-5C14-4F21-9CDD-3095ED99E02D}" dt="2020-04-08T13:06:33.617" v="529" actId="20577"/>
        <pc:sldMkLst>
          <pc:docMk/>
          <pc:sldMk cId="4231793924" sldId="540"/>
        </pc:sldMkLst>
        <pc:spChg chg="mod">
          <ac:chgData name="" userId="" providerId="" clId="Web-{E99790B3-5C14-4F21-9CDD-3095ED99E02D}" dt="2020-04-08T13:06:33.617" v="529" actId="20577"/>
          <ac:spMkLst>
            <pc:docMk/>
            <pc:sldMk cId="4231793924" sldId="540"/>
            <ac:spMk id="3" creationId="{00000000-0000-0000-0000-000000000000}"/>
          </ac:spMkLst>
        </pc:spChg>
      </pc:sldChg>
      <pc:sldChg chg="modSp">
        <pc:chgData name="" userId="" providerId="" clId="Web-{E99790B3-5C14-4F21-9CDD-3095ED99E02D}" dt="2020-04-08T12:21:04.429" v="40" actId="20577"/>
        <pc:sldMkLst>
          <pc:docMk/>
          <pc:sldMk cId="959614714" sldId="543"/>
        </pc:sldMkLst>
        <pc:spChg chg="mod">
          <ac:chgData name="" userId="" providerId="" clId="Web-{E99790B3-5C14-4F21-9CDD-3095ED99E02D}" dt="2020-04-08T12:21:04.429" v="40" actId="20577"/>
          <ac:spMkLst>
            <pc:docMk/>
            <pc:sldMk cId="959614714" sldId="543"/>
            <ac:spMk id="3" creationId="{00000000-0000-0000-0000-000000000000}"/>
          </ac:spMkLst>
        </pc:spChg>
      </pc:sldChg>
      <pc:sldChg chg="modSp">
        <pc:chgData name="" userId="" providerId="" clId="Web-{E99790B3-5C14-4F21-9CDD-3095ED99E02D}" dt="2020-04-08T12:33:45.013" v="214" actId="20577"/>
        <pc:sldMkLst>
          <pc:docMk/>
          <pc:sldMk cId="4161929214" sldId="547"/>
        </pc:sldMkLst>
        <pc:spChg chg="mod">
          <ac:chgData name="" userId="" providerId="" clId="Web-{E99790B3-5C14-4F21-9CDD-3095ED99E02D}" dt="2020-04-08T12:33:45.013" v="214" actId="20577"/>
          <ac:spMkLst>
            <pc:docMk/>
            <pc:sldMk cId="4161929214" sldId="547"/>
            <ac:spMk id="3" creationId="{00000000-0000-0000-0000-000000000000}"/>
          </ac:spMkLst>
        </pc:spChg>
      </pc:sldChg>
      <pc:sldChg chg="modSp">
        <pc:chgData name="" userId="" providerId="" clId="Web-{E99790B3-5C14-4F21-9CDD-3095ED99E02D}" dt="2020-04-08T12:23:54.121" v="71" actId="20577"/>
        <pc:sldMkLst>
          <pc:docMk/>
          <pc:sldMk cId="3169981543" sldId="548"/>
        </pc:sldMkLst>
        <pc:spChg chg="mod">
          <ac:chgData name="" userId="" providerId="" clId="Web-{E99790B3-5C14-4F21-9CDD-3095ED99E02D}" dt="2020-04-08T12:23:54.121" v="71" actId="20577"/>
          <ac:spMkLst>
            <pc:docMk/>
            <pc:sldMk cId="3169981543" sldId="548"/>
            <ac:spMk id="3" creationId="{00000000-0000-0000-0000-000000000000}"/>
          </ac:spMkLst>
        </pc:spChg>
      </pc:sldChg>
      <pc:sldChg chg="modSp">
        <pc:chgData name="" userId="" providerId="" clId="Web-{E99790B3-5C14-4F21-9CDD-3095ED99E02D}" dt="2020-04-08T12:47:54.930" v="319" actId="20577"/>
        <pc:sldMkLst>
          <pc:docMk/>
          <pc:sldMk cId="1957650401" sldId="549"/>
        </pc:sldMkLst>
        <pc:spChg chg="mod">
          <ac:chgData name="" userId="" providerId="" clId="Web-{E99790B3-5C14-4F21-9CDD-3095ED99E02D}" dt="2020-04-08T12:46:12.504" v="264" actId="20577"/>
          <ac:spMkLst>
            <pc:docMk/>
            <pc:sldMk cId="1957650401" sldId="549"/>
            <ac:spMk id="3" creationId="{00000000-0000-0000-0000-000000000000}"/>
          </ac:spMkLst>
        </pc:spChg>
        <pc:spChg chg="mod">
          <ac:chgData name="" userId="" providerId="" clId="Web-{E99790B3-5C14-4F21-9CDD-3095ED99E02D}" dt="2020-04-08T12:47:54.930" v="319" actId="20577"/>
          <ac:spMkLst>
            <pc:docMk/>
            <pc:sldMk cId="1957650401" sldId="549"/>
            <ac:spMk id="9" creationId="{00000000-0000-0000-0000-000000000000}"/>
          </ac:spMkLst>
        </pc:spChg>
      </pc:sldChg>
      <pc:sldChg chg="modSp">
        <pc:chgData name="" userId="" providerId="" clId="Web-{E99790B3-5C14-4F21-9CDD-3095ED99E02D}" dt="2020-04-08T12:18:32.018" v="1" actId="20577"/>
        <pc:sldMkLst>
          <pc:docMk/>
          <pc:sldMk cId="1445631664" sldId="578"/>
        </pc:sldMkLst>
        <pc:spChg chg="mod">
          <ac:chgData name="" userId="" providerId="" clId="Web-{E99790B3-5C14-4F21-9CDD-3095ED99E02D}" dt="2020-04-08T12:18:32.018" v="1" actId="20577"/>
          <ac:spMkLst>
            <pc:docMk/>
            <pc:sldMk cId="1445631664" sldId="578"/>
            <ac:spMk id="11" creationId="{00000000-0000-0000-0000-000000000000}"/>
          </ac:spMkLst>
        </pc:spChg>
      </pc:sldChg>
    </pc:docChg>
  </pc:docChgLst>
  <pc:docChgLst>
    <pc:chgData clId="Web-{547DB792-5EA2-4740-9786-C4AA2490CF40}"/>
    <pc:docChg chg="addSld modSld">
      <pc:chgData name="" userId="" providerId="" clId="Web-{547DB792-5EA2-4740-9786-C4AA2490CF40}" dt="2020-03-30T10:59:19.556" v="277" actId="20577"/>
      <pc:docMkLst>
        <pc:docMk/>
      </pc:docMkLst>
      <pc:sldChg chg="modSp add replId">
        <pc:chgData name="" userId="" providerId="" clId="Web-{547DB792-5EA2-4740-9786-C4AA2490CF40}" dt="2020-03-30T10:59:19.541" v="276" actId="20577"/>
        <pc:sldMkLst>
          <pc:docMk/>
          <pc:sldMk cId="2844942908" sldId="425"/>
        </pc:sldMkLst>
        <pc:spChg chg="mod">
          <ac:chgData name="" userId="" providerId="" clId="Web-{547DB792-5EA2-4740-9786-C4AA2490CF40}" dt="2020-03-30T10:46:26.556" v="125" actId="20577"/>
          <ac:spMkLst>
            <pc:docMk/>
            <pc:sldMk cId="2844942908" sldId="425"/>
            <ac:spMk id="3" creationId="{00000000-0000-0000-0000-000000000000}"/>
          </ac:spMkLst>
        </pc:spChg>
        <pc:spChg chg="mod">
          <ac:chgData name="" userId="" providerId="" clId="Web-{547DB792-5EA2-4740-9786-C4AA2490CF40}" dt="2020-03-30T10:48:37.087" v="175" actId="20577"/>
          <ac:spMkLst>
            <pc:docMk/>
            <pc:sldMk cId="2844942908" sldId="425"/>
            <ac:spMk id="4" creationId="{00000000-0000-0000-0000-000000000000}"/>
          </ac:spMkLst>
        </pc:spChg>
        <pc:spChg chg="mod">
          <ac:chgData name="" userId="" providerId="" clId="Web-{547DB792-5EA2-4740-9786-C4AA2490CF40}" dt="2020-03-30T10:59:19.541" v="276" actId="20577"/>
          <ac:spMkLst>
            <pc:docMk/>
            <pc:sldMk cId="2844942908" sldId="425"/>
            <ac:spMk id="5" creationId="{00000000-0000-0000-0000-000000000000}"/>
          </ac:spMkLst>
        </pc:spChg>
        <pc:spChg chg="mod">
          <ac:chgData name="" userId="" providerId="" clId="Web-{547DB792-5EA2-4740-9786-C4AA2490CF40}" dt="2020-03-30T10:55:02.728" v="255" actId="20577"/>
          <ac:spMkLst>
            <pc:docMk/>
            <pc:sldMk cId="2844942908" sldId="425"/>
            <ac:spMk id="9" creationId="{00000000-0000-0000-0000-000000000000}"/>
          </ac:spMkLst>
        </pc:spChg>
        <pc:picChg chg="mod modCrop">
          <ac:chgData name="" userId="" providerId="" clId="Web-{547DB792-5EA2-4740-9786-C4AA2490CF40}" dt="2020-03-30T10:58:02.150" v="265" actId="14100"/>
          <ac:picMkLst>
            <pc:docMk/>
            <pc:sldMk cId="2844942908" sldId="425"/>
            <ac:picMk id="2" creationId="{00000000-0000-0000-0000-000000000000}"/>
          </ac:picMkLst>
        </pc:picChg>
      </pc:sldChg>
    </pc:docChg>
  </pc:docChgLst>
  <pc:docChgLst>
    <pc:chgData clId="Web-{28967F0A-4908-45F9-851A-B60988F0CA83}"/>
    <pc:docChg chg="modSld">
      <pc:chgData name="" userId="" providerId="" clId="Web-{28967F0A-4908-45F9-851A-B60988F0CA83}" dt="2020-04-06T12:33:30.770" v="37"/>
      <pc:docMkLst>
        <pc:docMk/>
      </pc:docMkLst>
      <pc:sldChg chg="modSp">
        <pc:chgData name="" userId="" providerId="" clId="Web-{28967F0A-4908-45F9-851A-B60988F0CA83}" dt="2020-04-06T12:24:06.877" v="4" actId="20577"/>
        <pc:sldMkLst>
          <pc:docMk/>
          <pc:sldMk cId="166306973" sldId="439"/>
        </pc:sldMkLst>
        <pc:spChg chg="mod">
          <ac:chgData name="" userId="" providerId="" clId="Web-{28967F0A-4908-45F9-851A-B60988F0CA83}" dt="2020-04-06T12:24:06.877" v="4" actId="20577"/>
          <ac:spMkLst>
            <pc:docMk/>
            <pc:sldMk cId="166306973" sldId="439"/>
            <ac:spMk id="9" creationId="{00000000-0000-0000-0000-000000000000}"/>
          </ac:spMkLst>
        </pc:spChg>
      </pc:sldChg>
      <pc:sldChg chg="modSp">
        <pc:chgData name="" userId="" providerId="" clId="Web-{28967F0A-4908-45F9-851A-B60988F0CA83}" dt="2020-04-06T12:31:00.988" v="30" actId="20577"/>
        <pc:sldMkLst>
          <pc:docMk/>
          <pc:sldMk cId="2708027368" sldId="452"/>
        </pc:sldMkLst>
        <pc:spChg chg="mod">
          <ac:chgData name="" userId="" providerId="" clId="Web-{28967F0A-4908-45F9-851A-B60988F0CA83}" dt="2020-04-06T12:31:00.988" v="30" actId="20577"/>
          <ac:spMkLst>
            <pc:docMk/>
            <pc:sldMk cId="2708027368" sldId="452"/>
            <ac:spMk id="3" creationId="{00000000-0000-0000-0000-000000000000}"/>
          </ac:spMkLst>
        </pc:spChg>
      </pc:sldChg>
      <pc:sldChg chg="modSp">
        <pc:chgData name="" userId="" providerId="" clId="Web-{28967F0A-4908-45F9-851A-B60988F0CA83}" dt="2020-04-06T12:31:34.613" v="35" actId="20577"/>
        <pc:sldMkLst>
          <pc:docMk/>
          <pc:sldMk cId="315438383" sldId="471"/>
        </pc:sldMkLst>
        <pc:spChg chg="mod">
          <ac:chgData name="" userId="" providerId="" clId="Web-{28967F0A-4908-45F9-851A-B60988F0CA83}" dt="2020-04-06T12:31:16.926" v="32" actId="20577"/>
          <ac:spMkLst>
            <pc:docMk/>
            <pc:sldMk cId="315438383" sldId="471"/>
            <ac:spMk id="3" creationId="{00000000-0000-0000-0000-000000000000}"/>
          </ac:spMkLst>
        </pc:spChg>
        <pc:spChg chg="mod">
          <ac:chgData name="" userId="" providerId="" clId="Web-{28967F0A-4908-45F9-851A-B60988F0CA83}" dt="2020-04-06T12:31:34.613" v="35" actId="20577"/>
          <ac:spMkLst>
            <pc:docMk/>
            <pc:sldMk cId="315438383" sldId="471"/>
            <ac:spMk id="9" creationId="{00000000-0000-0000-0000-000000000000}"/>
          </ac:spMkLst>
        </pc:spChg>
      </pc:sldChg>
      <pc:sldChg chg="modSp">
        <pc:chgData name="" userId="" providerId="" clId="Web-{28967F0A-4908-45F9-851A-B60988F0CA83}" dt="2020-04-06T12:32:08.957" v="36" actId="20577"/>
        <pc:sldMkLst>
          <pc:docMk/>
          <pc:sldMk cId="4286507068" sldId="480"/>
        </pc:sldMkLst>
        <pc:spChg chg="mod">
          <ac:chgData name="" userId="" providerId="" clId="Web-{28967F0A-4908-45F9-851A-B60988F0CA83}" dt="2020-04-06T12:32:08.957" v="36" actId="20577"/>
          <ac:spMkLst>
            <pc:docMk/>
            <pc:sldMk cId="4286507068" sldId="480"/>
            <ac:spMk id="3" creationId="{00000000-0000-0000-0000-000000000000}"/>
          </ac:spMkLst>
        </pc:spChg>
      </pc:sldChg>
      <pc:sldChg chg="addCm">
        <pc:chgData name="" userId="" providerId="" clId="Web-{28967F0A-4908-45F9-851A-B60988F0CA83}" dt="2020-04-06T12:33:30.770" v="37"/>
        <pc:sldMkLst>
          <pc:docMk/>
          <pc:sldMk cId="4003898397" sldId="574"/>
        </pc:sldMkLst>
      </pc:sldChg>
      <pc:sldChg chg="modSp addCm">
        <pc:chgData name="" userId="" providerId="" clId="Web-{28967F0A-4908-45F9-851A-B60988F0CA83}" dt="2020-04-06T12:30:26.863" v="28"/>
        <pc:sldMkLst>
          <pc:docMk/>
          <pc:sldMk cId="1445631664" sldId="578"/>
        </pc:sldMkLst>
        <pc:spChg chg="mod">
          <ac:chgData name="" userId="" providerId="" clId="Web-{28967F0A-4908-45F9-851A-B60988F0CA83}" dt="2020-04-06T12:30:10.222" v="27" actId="20577"/>
          <ac:spMkLst>
            <pc:docMk/>
            <pc:sldMk cId="1445631664" sldId="578"/>
            <ac:spMk id="8" creationId="{00000000-0000-0000-0000-000000000000}"/>
          </ac:spMkLst>
        </pc:spChg>
      </pc:sldChg>
    </pc:docChg>
  </pc:docChgLst>
  <pc:docChgLst>
    <pc:chgData clId="Web-{BAC034B3-9230-4773-8A00-0EFFC73F291E}"/>
    <pc:docChg chg="modSld">
      <pc:chgData name="" userId="" providerId="" clId="Web-{BAC034B3-9230-4773-8A00-0EFFC73F291E}" dt="2020-03-30T10:26:05.353" v="101" actId="20577"/>
      <pc:docMkLst>
        <pc:docMk/>
      </pc:docMkLst>
      <pc:sldChg chg="modSp">
        <pc:chgData name="" userId="" providerId="" clId="Web-{BAC034B3-9230-4773-8A00-0EFFC73F291E}" dt="2020-03-30T10:26:05.353" v="101" actId="20577"/>
        <pc:sldMkLst>
          <pc:docMk/>
          <pc:sldMk cId="2606758311" sldId="419"/>
        </pc:sldMkLst>
        <pc:spChg chg="mod">
          <ac:chgData name="" userId="" providerId="" clId="Web-{BAC034B3-9230-4773-8A00-0EFFC73F291E}" dt="2020-03-30T10:26:05.353" v="101" actId="20577"/>
          <ac:spMkLst>
            <pc:docMk/>
            <pc:sldMk cId="2606758311" sldId="419"/>
            <ac:spMk id="3" creationId="{00000000-0000-0000-0000-000000000000}"/>
          </ac:spMkLst>
        </pc:spChg>
        <pc:spChg chg="mod">
          <ac:chgData name="" userId="" providerId="" clId="Web-{BAC034B3-9230-4773-8A00-0EFFC73F291E}" dt="2020-03-30T10:25:50.274" v="71" actId="20577"/>
          <ac:spMkLst>
            <pc:docMk/>
            <pc:sldMk cId="2606758311" sldId="419"/>
            <ac:spMk id="5" creationId="{00000000-0000-0000-0000-000000000000}"/>
          </ac:spMkLst>
        </pc:spChg>
      </pc:sldChg>
    </pc:docChg>
  </pc:docChgLst>
  <pc:docChgLst>
    <pc:chgData clId="Web-{11609F83-3E52-4FC5-90C5-645787F6A919}"/>
    <pc:docChg chg="modSld">
      <pc:chgData name="" userId="" providerId="" clId="Web-{11609F83-3E52-4FC5-90C5-645787F6A919}" dt="2020-04-07T06:39:05.173" v="35" actId="20577"/>
      <pc:docMkLst>
        <pc:docMk/>
      </pc:docMkLst>
      <pc:sldChg chg="modSp">
        <pc:chgData name="" userId="" providerId="" clId="Web-{11609F83-3E52-4FC5-90C5-645787F6A919}" dt="2020-04-07T06:39:05.173" v="35" actId="20577"/>
        <pc:sldMkLst>
          <pc:docMk/>
          <pc:sldMk cId="2685192991" sldId="462"/>
        </pc:sldMkLst>
        <pc:spChg chg="mod">
          <ac:chgData name="" userId="" providerId="" clId="Web-{11609F83-3E52-4FC5-90C5-645787F6A919}" dt="2020-04-07T06:39:05.173" v="35" actId="20577"/>
          <ac:spMkLst>
            <pc:docMk/>
            <pc:sldMk cId="2685192991" sldId="462"/>
            <ac:spMk id="3" creationId="{00000000-0000-0000-0000-000000000000}"/>
          </ac:spMkLst>
        </pc:spChg>
        <pc:spChg chg="mod">
          <ac:chgData name="" userId="" providerId="" clId="Web-{11609F83-3E52-4FC5-90C5-645787F6A919}" dt="2020-04-07T06:38:41.267" v="21" actId="20577"/>
          <ac:spMkLst>
            <pc:docMk/>
            <pc:sldMk cId="2685192991" sldId="462"/>
            <ac:spMk id="5" creationId="{00000000-0000-0000-0000-000000000000}"/>
          </ac:spMkLst>
        </pc:spChg>
      </pc:sldChg>
      <pc:sldChg chg="modSp">
        <pc:chgData name="" userId="" providerId="" clId="Web-{11609F83-3E52-4FC5-90C5-645787F6A919}" dt="2020-04-07T06:38:29.345" v="4" actId="20577"/>
        <pc:sldMkLst>
          <pc:docMk/>
          <pc:sldMk cId="4286507068" sldId="480"/>
        </pc:sldMkLst>
        <pc:spChg chg="mod">
          <ac:chgData name="" userId="" providerId="" clId="Web-{11609F83-3E52-4FC5-90C5-645787F6A919}" dt="2020-04-07T06:38:29.345" v="4" actId="20577"/>
          <ac:spMkLst>
            <pc:docMk/>
            <pc:sldMk cId="4286507068" sldId="480"/>
            <ac:spMk id="9" creationId="{00000000-0000-0000-0000-000000000000}"/>
          </ac:spMkLst>
        </pc:spChg>
      </pc:sldChg>
    </pc:docChg>
  </pc:docChgLst>
  <pc:docChgLst>
    <pc:chgData clId="Web-{0D0FC5FA-25C1-483A-8EEC-64A9D44C50D0}"/>
    <pc:docChg chg="modSld">
      <pc:chgData name="" userId="" providerId="" clId="Web-{0D0FC5FA-25C1-483A-8EEC-64A9D44C50D0}" dt="2020-05-01T16:03:01.518" v="60" actId="20577"/>
      <pc:docMkLst>
        <pc:docMk/>
      </pc:docMkLst>
      <pc:sldChg chg="modSp">
        <pc:chgData name="" userId="" providerId="" clId="Web-{0D0FC5FA-25C1-483A-8EEC-64A9D44C50D0}" dt="2020-05-01T16:03:01.518" v="59" actId="20577"/>
        <pc:sldMkLst>
          <pc:docMk/>
          <pc:sldMk cId="417328811" sldId="433"/>
        </pc:sldMkLst>
        <pc:spChg chg="mod">
          <ac:chgData name="" userId="" providerId="" clId="Web-{0D0FC5FA-25C1-483A-8EEC-64A9D44C50D0}" dt="2020-05-01T16:03:01.518" v="59" actId="20577"/>
          <ac:spMkLst>
            <pc:docMk/>
            <pc:sldMk cId="417328811" sldId="433"/>
            <ac:spMk id="5" creationId="{00000000-0000-0000-0000-000000000000}"/>
          </ac:spMkLst>
        </pc:spChg>
      </pc:sldChg>
      <pc:sldChg chg="modSp">
        <pc:chgData name="" userId="" providerId="" clId="Web-{0D0FC5FA-25C1-483A-8EEC-64A9D44C50D0}" dt="2020-05-01T15:59:41.313" v="32" actId="20577"/>
        <pc:sldMkLst>
          <pc:docMk/>
          <pc:sldMk cId="291025221" sldId="531"/>
        </pc:sldMkLst>
        <pc:spChg chg="mod">
          <ac:chgData name="" userId="" providerId="" clId="Web-{0D0FC5FA-25C1-483A-8EEC-64A9D44C50D0}" dt="2020-05-01T15:58:05.515" v="1" actId="20577"/>
          <ac:spMkLst>
            <pc:docMk/>
            <pc:sldMk cId="291025221" sldId="531"/>
            <ac:spMk id="5" creationId="{00000000-0000-0000-0000-000000000000}"/>
          </ac:spMkLst>
        </pc:spChg>
        <pc:spChg chg="mod">
          <ac:chgData name="" userId="" providerId="" clId="Web-{0D0FC5FA-25C1-483A-8EEC-64A9D44C50D0}" dt="2020-05-01T15:59:41.313" v="32" actId="20577"/>
          <ac:spMkLst>
            <pc:docMk/>
            <pc:sldMk cId="291025221" sldId="531"/>
            <ac:spMk id="9" creationId="{00000000-0000-0000-0000-000000000000}"/>
          </ac:spMkLst>
        </pc:spChg>
      </pc:sldChg>
      <pc:sldChg chg="modSp">
        <pc:chgData name="" userId="" providerId="" clId="Web-{0D0FC5FA-25C1-483A-8EEC-64A9D44C50D0}" dt="2020-05-01T16:02:05.611" v="43" actId="20577"/>
        <pc:sldMkLst>
          <pc:docMk/>
          <pc:sldMk cId="3764322134" sldId="577"/>
        </pc:sldMkLst>
        <pc:spChg chg="mod">
          <ac:chgData name="" userId="" providerId="" clId="Web-{0D0FC5FA-25C1-483A-8EEC-64A9D44C50D0}" dt="2020-05-01T16:00:38.985" v="38" actId="20577"/>
          <ac:spMkLst>
            <pc:docMk/>
            <pc:sldMk cId="3764322134" sldId="577"/>
            <ac:spMk id="3" creationId="{00000000-0000-0000-0000-000000000000}"/>
          </ac:spMkLst>
        </pc:spChg>
        <pc:spChg chg="mod">
          <ac:chgData name="" userId="" providerId="" clId="Web-{0D0FC5FA-25C1-483A-8EEC-64A9D44C50D0}" dt="2020-05-01T16:02:05.611" v="43" actId="20577"/>
          <ac:spMkLst>
            <pc:docMk/>
            <pc:sldMk cId="3764322134" sldId="577"/>
            <ac:spMk id="5" creationId="{00000000-0000-0000-0000-000000000000}"/>
          </ac:spMkLst>
        </pc:spChg>
        <pc:spChg chg="mod">
          <ac:chgData name="" userId="" providerId="" clId="Web-{0D0FC5FA-25C1-483A-8EEC-64A9D44C50D0}" dt="2020-05-01T16:00:57.532" v="40"/>
          <ac:spMkLst>
            <pc:docMk/>
            <pc:sldMk cId="3764322134" sldId="577"/>
            <ac:spMk id="9" creationId="{00000000-0000-0000-0000-000000000000}"/>
          </ac:spMkLst>
        </pc:spChg>
      </pc:sldChg>
    </pc:docChg>
  </pc:docChgLst>
  <pc:docChgLst>
    <pc:chgData clId="Web-{BAD65814-2D0A-4D75-8E10-072F8F2674A5}"/>
    <pc:docChg chg="modSld">
      <pc:chgData name="" userId="" providerId="" clId="Web-{BAD65814-2D0A-4D75-8E10-072F8F2674A5}" dt="2020-04-06T09:34:19.180" v="11" actId="20577"/>
      <pc:docMkLst>
        <pc:docMk/>
      </pc:docMkLst>
      <pc:sldChg chg="modSp">
        <pc:chgData name="" userId="" providerId="" clId="Web-{BAD65814-2D0A-4D75-8E10-072F8F2674A5}" dt="2020-04-06T09:31:50.539" v="5" actId="20577"/>
        <pc:sldMkLst>
          <pc:docMk/>
          <pc:sldMk cId="1656653009" sldId="436"/>
        </pc:sldMkLst>
        <pc:spChg chg="mod">
          <ac:chgData name="" userId="" providerId="" clId="Web-{BAD65814-2D0A-4D75-8E10-072F8F2674A5}" dt="2020-04-06T09:31:50.539" v="5" actId="20577"/>
          <ac:spMkLst>
            <pc:docMk/>
            <pc:sldMk cId="1656653009" sldId="436"/>
            <ac:spMk id="5" creationId="{00000000-0000-0000-0000-000000000000}"/>
          </ac:spMkLst>
        </pc:spChg>
      </pc:sldChg>
      <pc:sldChg chg="modSp">
        <pc:chgData name="" userId="" providerId="" clId="Web-{BAD65814-2D0A-4D75-8E10-072F8F2674A5}" dt="2020-04-06T09:31:43.899" v="0" actId="20577"/>
        <pc:sldMkLst>
          <pc:docMk/>
          <pc:sldMk cId="4058473551" sldId="527"/>
        </pc:sldMkLst>
        <pc:spChg chg="mod">
          <ac:chgData name="" userId="" providerId="" clId="Web-{BAD65814-2D0A-4D75-8E10-072F8F2674A5}" dt="2020-04-06T09:31:43.899" v="0" actId="20577"/>
          <ac:spMkLst>
            <pc:docMk/>
            <pc:sldMk cId="4058473551" sldId="527"/>
            <ac:spMk id="5" creationId="{00000000-0000-0000-0000-000000000000}"/>
          </ac:spMkLst>
        </pc:spChg>
      </pc:sldChg>
      <pc:sldChg chg="modSp">
        <pc:chgData name="" userId="" providerId="" clId="Web-{BAD65814-2D0A-4D75-8E10-072F8F2674A5}" dt="2020-04-06T09:34:19.180" v="11" actId="20577"/>
        <pc:sldMkLst>
          <pc:docMk/>
          <pc:sldMk cId="3903391003" sldId="533"/>
        </pc:sldMkLst>
        <pc:spChg chg="mod">
          <ac:chgData name="" userId="" providerId="" clId="Web-{BAD65814-2D0A-4D75-8E10-072F8F2674A5}" dt="2020-04-06T09:34:19.180" v="11" actId="20577"/>
          <ac:spMkLst>
            <pc:docMk/>
            <pc:sldMk cId="3903391003" sldId="533"/>
            <ac:spMk id="5" creationId="{00000000-0000-0000-0000-000000000000}"/>
          </ac:spMkLst>
        </pc:spChg>
      </pc:sldChg>
      <pc:sldChg chg="modSp">
        <pc:chgData name="" userId="" providerId="" clId="Web-{BAD65814-2D0A-4D75-8E10-072F8F2674A5}" dt="2020-04-06T09:32:31.945" v="8" actId="20577"/>
        <pc:sldMkLst>
          <pc:docMk/>
          <pc:sldMk cId="1619251204" sldId="541"/>
        </pc:sldMkLst>
        <pc:spChg chg="mod">
          <ac:chgData name="" userId="" providerId="" clId="Web-{BAD65814-2D0A-4D75-8E10-072F8F2674A5}" dt="2020-04-06T09:32:31.945" v="8" actId="20577"/>
          <ac:spMkLst>
            <pc:docMk/>
            <pc:sldMk cId="1619251204" sldId="541"/>
            <ac:spMk id="5" creationId="{00000000-0000-0000-0000-000000000000}"/>
          </ac:spMkLst>
        </pc:spChg>
      </pc:sldChg>
    </pc:docChg>
  </pc:docChgLst>
  <pc:docChgLst>
    <pc:chgData clId="Web-{6E3EC63A-7969-4C13-BE43-58E3EDB7326F}"/>
    <pc:docChg chg="modSld">
      <pc:chgData name="" userId="" providerId="" clId="Web-{6E3EC63A-7969-4C13-BE43-58E3EDB7326F}" dt="2020-04-15T10:23:20.128" v="65" actId="20577"/>
      <pc:docMkLst>
        <pc:docMk/>
      </pc:docMkLst>
      <pc:sldChg chg="modSp">
        <pc:chgData name="" userId="" providerId="" clId="Web-{6E3EC63A-7969-4C13-BE43-58E3EDB7326F}" dt="2020-04-15T10:22:12.673" v="58" actId="20577"/>
        <pc:sldMkLst>
          <pc:docMk/>
          <pc:sldMk cId="1821882584" sldId="532"/>
        </pc:sldMkLst>
        <pc:spChg chg="mod">
          <ac:chgData name="" userId="" providerId="" clId="Web-{6E3EC63A-7969-4C13-BE43-58E3EDB7326F}" dt="2020-04-15T10:22:12.673" v="58" actId="20577"/>
          <ac:spMkLst>
            <pc:docMk/>
            <pc:sldMk cId="1821882584" sldId="532"/>
            <ac:spMk id="9" creationId="{00000000-0000-0000-0000-000000000000}"/>
          </ac:spMkLst>
        </pc:spChg>
      </pc:sldChg>
      <pc:sldChg chg="modSp">
        <pc:chgData name="" userId="" providerId="" clId="Web-{6E3EC63A-7969-4C13-BE43-58E3EDB7326F}" dt="2020-04-15T10:18:10.260" v="42" actId="20577"/>
        <pc:sldMkLst>
          <pc:docMk/>
          <pc:sldMk cId="2834309667" sldId="576"/>
        </pc:sldMkLst>
        <pc:spChg chg="mod">
          <ac:chgData name="" userId="" providerId="" clId="Web-{6E3EC63A-7969-4C13-BE43-58E3EDB7326F}" dt="2020-04-15T10:18:10.260" v="42" actId="20577"/>
          <ac:spMkLst>
            <pc:docMk/>
            <pc:sldMk cId="2834309667" sldId="576"/>
            <ac:spMk id="9" creationId="{00000000-0000-0000-0000-000000000000}"/>
          </ac:spMkLst>
        </pc:spChg>
      </pc:sldChg>
      <pc:sldChg chg="addSp modSp">
        <pc:chgData name="" userId="" providerId="" clId="Web-{6E3EC63A-7969-4C13-BE43-58E3EDB7326F}" dt="2020-04-15T10:23:20.128" v="65" actId="20577"/>
        <pc:sldMkLst>
          <pc:docMk/>
          <pc:sldMk cId="2596171413" sldId="587"/>
        </pc:sldMkLst>
        <pc:spChg chg="mod ord">
          <ac:chgData name="" userId="" providerId="" clId="Web-{6E3EC63A-7969-4C13-BE43-58E3EDB7326F}" dt="2020-04-15T10:23:20.128" v="65" actId="20577"/>
          <ac:spMkLst>
            <pc:docMk/>
            <pc:sldMk cId="2596171413" sldId="587"/>
            <ac:spMk id="10" creationId="{00000000-0000-0000-0000-000000000000}"/>
          </ac:spMkLst>
        </pc:spChg>
        <pc:spChg chg="ord">
          <ac:chgData name="" userId="" providerId="" clId="Web-{6E3EC63A-7969-4C13-BE43-58E3EDB7326F}" dt="2020-04-15T10:20:18.107" v="55"/>
          <ac:spMkLst>
            <pc:docMk/>
            <pc:sldMk cId="2596171413" sldId="587"/>
            <ac:spMk id="13" creationId="{8762CBB0-B09A-4AC6-9024-826EF534C05F}"/>
          </ac:spMkLst>
        </pc:spChg>
        <pc:picChg chg="add ord">
          <ac:chgData name="" userId="" providerId="" clId="Web-{6E3EC63A-7969-4C13-BE43-58E3EDB7326F}" dt="2020-04-15T10:19:43.763" v="47"/>
          <ac:picMkLst>
            <pc:docMk/>
            <pc:sldMk cId="2596171413" sldId="587"/>
            <ac:picMk id="4" creationId="{F20EB35E-2DEF-4979-9419-0D71618F7514}"/>
          </ac:picMkLst>
        </pc:picChg>
        <pc:picChg chg="mod ord">
          <ac:chgData name="" userId="" providerId="" clId="Web-{6E3EC63A-7969-4C13-BE43-58E3EDB7326F}" dt="2020-04-15T10:22:49.190" v="60" actId="1076"/>
          <ac:picMkLst>
            <pc:docMk/>
            <pc:sldMk cId="2596171413" sldId="587"/>
            <ac:picMk id="9" creationId="{00000000-0000-0000-0000-000000000000}"/>
          </ac:picMkLst>
        </pc:picChg>
      </pc:sldChg>
    </pc:docChg>
  </pc:docChgLst>
  <pc:docChgLst>
    <pc:chgData clId="Web-{9FF60AC5-9CC1-428C-AFB2-37982C7B2678}"/>
    <pc:docChg chg="modSld">
      <pc:chgData name="" userId="" providerId="" clId="Web-{9FF60AC5-9CC1-428C-AFB2-37982C7B2678}" dt="2020-04-16T17:10:46.544" v="845" actId="20577"/>
      <pc:docMkLst>
        <pc:docMk/>
      </pc:docMkLst>
      <pc:sldChg chg="modSp">
        <pc:chgData name="" userId="" providerId="" clId="Web-{9FF60AC5-9CC1-428C-AFB2-37982C7B2678}" dt="2020-04-16T16:22:37.321" v="333" actId="20577"/>
        <pc:sldMkLst>
          <pc:docMk/>
          <pc:sldMk cId="2220261670" sldId="426"/>
        </pc:sldMkLst>
        <pc:spChg chg="mod">
          <ac:chgData name="" userId="" providerId="" clId="Web-{9FF60AC5-9CC1-428C-AFB2-37982C7B2678}" dt="2020-04-16T16:22:01.352" v="329" actId="20577"/>
          <ac:spMkLst>
            <pc:docMk/>
            <pc:sldMk cId="2220261670" sldId="426"/>
            <ac:spMk id="5" creationId="{00000000-0000-0000-0000-000000000000}"/>
          </ac:spMkLst>
        </pc:spChg>
        <pc:spChg chg="mod">
          <ac:chgData name="" userId="" providerId="" clId="Web-{9FF60AC5-9CC1-428C-AFB2-37982C7B2678}" dt="2020-04-16T16:22:37.321" v="333" actId="20577"/>
          <ac:spMkLst>
            <pc:docMk/>
            <pc:sldMk cId="2220261670" sldId="426"/>
            <ac:spMk id="9" creationId="{00000000-0000-0000-0000-000000000000}"/>
          </ac:spMkLst>
        </pc:spChg>
      </pc:sldChg>
      <pc:sldChg chg="modSp">
        <pc:chgData name="" userId="" providerId="" clId="Web-{9FF60AC5-9CC1-428C-AFB2-37982C7B2678}" dt="2020-04-16T15:52:23.160" v="0" actId="20577"/>
        <pc:sldMkLst>
          <pc:docMk/>
          <pc:sldMk cId="1272481722" sldId="431"/>
        </pc:sldMkLst>
        <pc:spChg chg="mod">
          <ac:chgData name="" userId="" providerId="" clId="Web-{9FF60AC5-9CC1-428C-AFB2-37982C7B2678}" dt="2020-04-16T15:52:23.160" v="0" actId="20577"/>
          <ac:spMkLst>
            <pc:docMk/>
            <pc:sldMk cId="1272481722" sldId="431"/>
            <ac:spMk id="9" creationId="{00000000-0000-0000-0000-000000000000}"/>
          </ac:spMkLst>
        </pc:spChg>
      </pc:sldChg>
      <pc:sldChg chg="modSp">
        <pc:chgData name="" userId="" providerId="" clId="Web-{9FF60AC5-9CC1-428C-AFB2-37982C7B2678}" dt="2020-04-16T16:07:50.937" v="149" actId="20577"/>
        <pc:sldMkLst>
          <pc:docMk/>
          <pc:sldMk cId="4219587909" sldId="435"/>
        </pc:sldMkLst>
        <pc:spChg chg="mod">
          <ac:chgData name="" userId="" providerId="" clId="Web-{9FF60AC5-9CC1-428C-AFB2-37982C7B2678}" dt="2020-04-16T16:07:50.937" v="149" actId="20577"/>
          <ac:spMkLst>
            <pc:docMk/>
            <pc:sldMk cId="4219587909" sldId="435"/>
            <ac:spMk id="4" creationId="{00000000-0000-0000-0000-000000000000}"/>
          </ac:spMkLst>
        </pc:spChg>
      </pc:sldChg>
      <pc:sldChg chg="modSp">
        <pc:chgData name="" userId="" providerId="" clId="Web-{9FF60AC5-9CC1-428C-AFB2-37982C7B2678}" dt="2020-04-16T17:10:46.544" v="845" actId="20577"/>
        <pc:sldMkLst>
          <pc:docMk/>
          <pc:sldMk cId="1597860656" sldId="437"/>
        </pc:sldMkLst>
        <pc:spChg chg="mod">
          <ac:chgData name="" userId="" providerId="" clId="Web-{9FF60AC5-9CC1-428C-AFB2-37982C7B2678}" dt="2020-04-16T17:10:46.544" v="845" actId="20577"/>
          <ac:spMkLst>
            <pc:docMk/>
            <pc:sldMk cId="1597860656" sldId="437"/>
            <ac:spMk id="4" creationId="{00000000-0000-0000-0000-000000000000}"/>
          </ac:spMkLst>
        </pc:spChg>
      </pc:sldChg>
      <pc:sldChg chg="modSp">
        <pc:chgData name="" userId="" providerId="" clId="Web-{9FF60AC5-9CC1-428C-AFB2-37982C7B2678}" dt="2020-04-16T17:05:21.816" v="819" actId="20577"/>
        <pc:sldMkLst>
          <pc:docMk/>
          <pc:sldMk cId="2708027368" sldId="452"/>
        </pc:sldMkLst>
        <pc:spChg chg="mod">
          <ac:chgData name="" userId="" providerId="" clId="Web-{9FF60AC5-9CC1-428C-AFB2-37982C7B2678}" dt="2020-04-16T17:05:21.816" v="819" actId="20577"/>
          <ac:spMkLst>
            <pc:docMk/>
            <pc:sldMk cId="2708027368" sldId="452"/>
            <ac:spMk id="4" creationId="{00000000-0000-0000-0000-000000000000}"/>
          </ac:spMkLst>
        </pc:spChg>
      </pc:sldChg>
      <pc:sldChg chg="modSp">
        <pc:chgData name="" userId="" providerId="" clId="Web-{9FF60AC5-9CC1-428C-AFB2-37982C7B2678}" dt="2020-04-16T17:06:05.161" v="824" actId="20577"/>
        <pc:sldMkLst>
          <pc:docMk/>
          <pc:sldMk cId="3351090069" sldId="457"/>
        </pc:sldMkLst>
        <pc:spChg chg="mod">
          <ac:chgData name="" userId="" providerId="" clId="Web-{9FF60AC5-9CC1-428C-AFB2-37982C7B2678}" dt="2020-04-16T17:06:05.161" v="824" actId="20577"/>
          <ac:spMkLst>
            <pc:docMk/>
            <pc:sldMk cId="3351090069" sldId="457"/>
            <ac:spMk id="5" creationId="{00000000-0000-0000-0000-000000000000}"/>
          </ac:spMkLst>
        </pc:spChg>
        <pc:spChg chg="mod">
          <ac:chgData name="" userId="" providerId="" clId="Web-{9FF60AC5-9CC1-428C-AFB2-37982C7B2678}" dt="2020-04-16T17:04:37.643" v="818" actId="20577"/>
          <ac:spMkLst>
            <pc:docMk/>
            <pc:sldMk cId="3351090069" sldId="457"/>
            <ac:spMk id="9" creationId="{00000000-0000-0000-0000-000000000000}"/>
          </ac:spMkLst>
        </pc:spChg>
      </pc:sldChg>
      <pc:sldChg chg="modSp">
        <pc:chgData name="" userId="" providerId="" clId="Web-{9FF60AC5-9CC1-428C-AFB2-37982C7B2678}" dt="2020-04-16T15:54:31.898" v="13" actId="20577"/>
        <pc:sldMkLst>
          <pc:docMk/>
          <pc:sldMk cId="1231425563" sldId="458"/>
        </pc:sldMkLst>
        <pc:spChg chg="mod">
          <ac:chgData name="" userId="" providerId="" clId="Web-{9FF60AC5-9CC1-428C-AFB2-37982C7B2678}" dt="2020-04-16T15:54:31.898" v="13" actId="20577"/>
          <ac:spMkLst>
            <pc:docMk/>
            <pc:sldMk cId="1231425563" sldId="458"/>
            <ac:spMk id="9" creationId="{00000000-0000-0000-0000-000000000000}"/>
          </ac:spMkLst>
        </pc:spChg>
      </pc:sldChg>
      <pc:sldChg chg="modSp">
        <pc:chgData name="" userId="" providerId="" clId="Web-{9FF60AC5-9CC1-428C-AFB2-37982C7B2678}" dt="2020-04-16T16:13:46.618" v="208" actId="20577"/>
        <pc:sldMkLst>
          <pc:docMk/>
          <pc:sldMk cId="16591205" sldId="460"/>
        </pc:sldMkLst>
        <pc:spChg chg="mod">
          <ac:chgData name="" userId="" providerId="" clId="Web-{9FF60AC5-9CC1-428C-AFB2-37982C7B2678}" dt="2020-04-16T16:13:46.618" v="208" actId="20577"/>
          <ac:spMkLst>
            <pc:docMk/>
            <pc:sldMk cId="16591205" sldId="460"/>
            <ac:spMk id="5" creationId="{00000000-0000-0000-0000-000000000000}"/>
          </ac:spMkLst>
        </pc:spChg>
      </pc:sldChg>
      <pc:sldChg chg="modSp">
        <pc:chgData name="" userId="" providerId="" clId="Web-{9FF60AC5-9CC1-428C-AFB2-37982C7B2678}" dt="2020-04-16T16:37:31.206" v="450" actId="20577"/>
        <pc:sldMkLst>
          <pc:docMk/>
          <pc:sldMk cId="2685192991" sldId="462"/>
        </pc:sldMkLst>
        <pc:spChg chg="mod">
          <ac:chgData name="" userId="" providerId="" clId="Web-{9FF60AC5-9CC1-428C-AFB2-37982C7B2678}" dt="2020-04-16T16:37:31.206" v="450" actId="20577"/>
          <ac:spMkLst>
            <pc:docMk/>
            <pc:sldMk cId="2685192991" sldId="462"/>
            <ac:spMk id="3" creationId="{00000000-0000-0000-0000-000000000000}"/>
          </ac:spMkLst>
        </pc:spChg>
        <pc:spChg chg="mod">
          <ac:chgData name="" userId="" providerId="" clId="Web-{9FF60AC5-9CC1-428C-AFB2-37982C7B2678}" dt="2020-04-16T16:19:13.331" v="288" actId="20577"/>
          <ac:spMkLst>
            <pc:docMk/>
            <pc:sldMk cId="2685192991" sldId="462"/>
            <ac:spMk id="4" creationId="{00000000-0000-0000-0000-000000000000}"/>
          </ac:spMkLst>
        </pc:spChg>
        <pc:spChg chg="mod">
          <ac:chgData name="" userId="" providerId="" clId="Web-{9FF60AC5-9CC1-428C-AFB2-37982C7B2678}" dt="2020-04-16T16:35:18.437" v="405" actId="20577"/>
          <ac:spMkLst>
            <pc:docMk/>
            <pc:sldMk cId="2685192991" sldId="462"/>
            <ac:spMk id="9" creationId="{00000000-0000-0000-0000-000000000000}"/>
          </ac:spMkLst>
        </pc:spChg>
      </pc:sldChg>
      <pc:sldChg chg="modSp">
        <pc:chgData name="" userId="" providerId="" clId="Web-{9FF60AC5-9CC1-428C-AFB2-37982C7B2678}" dt="2020-04-16T17:05:34.394" v="821" actId="20577"/>
        <pc:sldMkLst>
          <pc:docMk/>
          <pc:sldMk cId="315438383" sldId="471"/>
        </pc:sldMkLst>
        <pc:spChg chg="mod">
          <ac:chgData name="" userId="" providerId="" clId="Web-{9FF60AC5-9CC1-428C-AFB2-37982C7B2678}" dt="2020-04-16T17:05:34.394" v="821" actId="20577"/>
          <ac:spMkLst>
            <pc:docMk/>
            <pc:sldMk cId="315438383" sldId="471"/>
            <ac:spMk id="4" creationId="{00000000-0000-0000-0000-000000000000}"/>
          </ac:spMkLst>
        </pc:spChg>
      </pc:sldChg>
      <pc:sldChg chg="modSp">
        <pc:chgData name="" userId="" providerId="" clId="Web-{9FF60AC5-9CC1-428C-AFB2-37982C7B2678}" dt="2020-04-16T17:10:34.637" v="844" actId="20577"/>
        <pc:sldMkLst>
          <pc:docMk/>
          <pc:sldMk cId="4286507068" sldId="480"/>
        </pc:sldMkLst>
        <pc:spChg chg="mod">
          <ac:chgData name="" userId="" providerId="" clId="Web-{9FF60AC5-9CC1-428C-AFB2-37982C7B2678}" dt="2020-04-16T17:10:34.637" v="844" actId="20577"/>
          <ac:spMkLst>
            <pc:docMk/>
            <pc:sldMk cId="4286507068" sldId="480"/>
            <ac:spMk id="3" creationId="{00000000-0000-0000-0000-000000000000}"/>
          </ac:spMkLst>
        </pc:spChg>
        <pc:spChg chg="mod">
          <ac:chgData name="" userId="" providerId="" clId="Web-{9FF60AC5-9CC1-428C-AFB2-37982C7B2678}" dt="2020-04-16T17:07:16.788" v="828" actId="20577"/>
          <ac:spMkLst>
            <pc:docMk/>
            <pc:sldMk cId="4286507068" sldId="480"/>
            <ac:spMk id="4" creationId="{00000000-0000-0000-0000-000000000000}"/>
          </ac:spMkLst>
        </pc:spChg>
        <pc:spChg chg="mod">
          <ac:chgData name="" userId="" providerId="" clId="Web-{9FF60AC5-9CC1-428C-AFB2-37982C7B2678}" dt="2020-04-16T17:07:48.101" v="831"/>
          <ac:spMkLst>
            <pc:docMk/>
            <pc:sldMk cId="4286507068" sldId="480"/>
            <ac:spMk id="9" creationId="{00000000-0000-0000-0000-000000000000}"/>
          </ac:spMkLst>
        </pc:spChg>
      </pc:sldChg>
      <pc:sldChg chg="modSp">
        <pc:chgData name="" userId="" providerId="" clId="Web-{9FF60AC5-9CC1-428C-AFB2-37982C7B2678}" dt="2020-04-16T16:47:46.099" v="567" actId="20577"/>
        <pc:sldMkLst>
          <pc:docMk/>
          <pc:sldMk cId="3064519310" sldId="489"/>
        </pc:sldMkLst>
        <pc:spChg chg="mod">
          <ac:chgData name="" userId="" providerId="" clId="Web-{9FF60AC5-9CC1-428C-AFB2-37982C7B2678}" dt="2020-04-16T16:19:45.038" v="297" actId="20577"/>
          <ac:spMkLst>
            <pc:docMk/>
            <pc:sldMk cId="3064519310" sldId="489"/>
            <ac:spMk id="4" creationId="{00000000-0000-0000-0000-000000000000}"/>
          </ac:spMkLst>
        </pc:spChg>
        <pc:spChg chg="mod">
          <ac:chgData name="" userId="" providerId="" clId="Web-{9FF60AC5-9CC1-428C-AFB2-37982C7B2678}" dt="2020-04-16T16:47:46.099" v="567" actId="20577"/>
          <ac:spMkLst>
            <pc:docMk/>
            <pc:sldMk cId="3064519310" sldId="489"/>
            <ac:spMk id="9" creationId="{00000000-0000-0000-0000-000000000000}"/>
          </ac:spMkLst>
        </pc:spChg>
      </pc:sldChg>
      <pc:sldChg chg="modSp">
        <pc:chgData name="" userId="" providerId="" clId="Web-{9FF60AC5-9CC1-428C-AFB2-37982C7B2678}" dt="2020-04-16T16:55:00.236" v="666" actId="20577"/>
        <pc:sldMkLst>
          <pc:docMk/>
          <pc:sldMk cId="2447815408" sldId="497"/>
        </pc:sldMkLst>
        <pc:spChg chg="mod">
          <ac:chgData name="" userId="" providerId="" clId="Web-{9FF60AC5-9CC1-428C-AFB2-37982C7B2678}" dt="2020-04-16T16:55:00.236" v="666" actId="20577"/>
          <ac:spMkLst>
            <pc:docMk/>
            <pc:sldMk cId="2447815408" sldId="497"/>
            <ac:spMk id="4" creationId="{00000000-0000-0000-0000-000000000000}"/>
          </ac:spMkLst>
        </pc:spChg>
      </pc:sldChg>
      <pc:sldChg chg="modSp">
        <pc:chgData name="" userId="" providerId="" clId="Web-{9FF60AC5-9CC1-428C-AFB2-37982C7B2678}" dt="2020-04-16T16:11:56.787" v="182" actId="20577"/>
        <pc:sldMkLst>
          <pc:docMk/>
          <pc:sldMk cId="3341997725" sldId="521"/>
        </pc:sldMkLst>
        <pc:spChg chg="mod">
          <ac:chgData name="" userId="" providerId="" clId="Web-{9FF60AC5-9CC1-428C-AFB2-37982C7B2678}" dt="2020-04-16T16:11:22.833" v="172" actId="20577"/>
          <ac:spMkLst>
            <pc:docMk/>
            <pc:sldMk cId="3341997725" sldId="521"/>
            <ac:spMk id="4" creationId="{00000000-0000-0000-0000-000000000000}"/>
          </ac:spMkLst>
        </pc:spChg>
        <pc:spChg chg="mod">
          <ac:chgData name="" userId="" providerId="" clId="Web-{9FF60AC5-9CC1-428C-AFB2-37982C7B2678}" dt="2020-04-16T16:11:56.787" v="182" actId="20577"/>
          <ac:spMkLst>
            <pc:docMk/>
            <pc:sldMk cId="3341997725" sldId="521"/>
            <ac:spMk id="9" creationId="{00000000-0000-0000-0000-000000000000}"/>
          </ac:spMkLst>
        </pc:spChg>
      </pc:sldChg>
      <pc:sldChg chg="modSp">
        <pc:chgData name="" userId="" providerId="" clId="Web-{9FF60AC5-9CC1-428C-AFB2-37982C7B2678}" dt="2020-04-16T16:10:08.706" v="166" actId="20577"/>
        <pc:sldMkLst>
          <pc:docMk/>
          <pc:sldMk cId="2912178991" sldId="524"/>
        </pc:sldMkLst>
        <pc:spChg chg="mod">
          <ac:chgData name="" userId="" providerId="" clId="Web-{9FF60AC5-9CC1-428C-AFB2-37982C7B2678}" dt="2020-04-16T16:10:08.706" v="166" actId="20577"/>
          <ac:spMkLst>
            <pc:docMk/>
            <pc:sldMk cId="2912178991" sldId="524"/>
            <ac:spMk id="4" creationId="{00000000-0000-0000-0000-000000000000}"/>
          </ac:spMkLst>
        </pc:spChg>
      </pc:sldChg>
      <pc:sldChg chg="modSp">
        <pc:chgData name="" userId="" providerId="" clId="Web-{9FF60AC5-9CC1-428C-AFB2-37982C7B2678}" dt="2020-04-16T16:34:31.920" v="401" actId="20577"/>
        <pc:sldMkLst>
          <pc:docMk/>
          <pc:sldMk cId="479632970" sldId="529"/>
        </pc:sldMkLst>
        <pc:spChg chg="mod">
          <ac:chgData name="" userId="" providerId="" clId="Web-{9FF60AC5-9CC1-428C-AFB2-37982C7B2678}" dt="2020-04-16T16:19:19.034" v="291" actId="20577"/>
          <ac:spMkLst>
            <pc:docMk/>
            <pc:sldMk cId="479632970" sldId="529"/>
            <ac:spMk id="4" creationId="{00000000-0000-0000-0000-000000000000}"/>
          </ac:spMkLst>
        </pc:spChg>
        <pc:spChg chg="mod">
          <ac:chgData name="" userId="" providerId="" clId="Web-{9FF60AC5-9CC1-428C-AFB2-37982C7B2678}" dt="2020-04-16T16:34:31.920" v="401" actId="20577"/>
          <ac:spMkLst>
            <pc:docMk/>
            <pc:sldMk cId="479632970" sldId="529"/>
            <ac:spMk id="9" creationId="{00000000-0000-0000-0000-000000000000}"/>
          </ac:spMkLst>
        </pc:spChg>
      </pc:sldChg>
      <pc:sldChg chg="modSp">
        <pc:chgData name="" userId="" providerId="" clId="Web-{9FF60AC5-9CC1-428C-AFB2-37982C7B2678}" dt="2020-04-16T16:25:56.655" v="348" actId="20577"/>
        <pc:sldMkLst>
          <pc:docMk/>
          <pc:sldMk cId="3068488975" sldId="530"/>
        </pc:sldMkLst>
        <pc:spChg chg="mod">
          <ac:chgData name="" userId="" providerId="" clId="Web-{9FF60AC5-9CC1-428C-AFB2-37982C7B2678}" dt="2020-04-16T16:25:24.920" v="345" actId="20577"/>
          <ac:spMkLst>
            <pc:docMk/>
            <pc:sldMk cId="3068488975" sldId="530"/>
            <ac:spMk id="4" creationId="{00000000-0000-0000-0000-000000000000}"/>
          </ac:spMkLst>
        </pc:spChg>
        <pc:spChg chg="mod">
          <ac:chgData name="" userId="" providerId="" clId="Web-{9FF60AC5-9CC1-428C-AFB2-37982C7B2678}" dt="2020-04-16T16:25:56.655" v="348" actId="20577"/>
          <ac:spMkLst>
            <pc:docMk/>
            <pc:sldMk cId="3068488975" sldId="530"/>
            <ac:spMk id="9" creationId="{00000000-0000-0000-0000-000000000000}"/>
          </ac:spMkLst>
        </pc:spChg>
      </pc:sldChg>
      <pc:sldChg chg="modSp">
        <pc:chgData name="" userId="" providerId="" clId="Web-{9FF60AC5-9CC1-428C-AFB2-37982C7B2678}" dt="2020-04-16T16:09:31.299" v="161" actId="20577"/>
        <pc:sldMkLst>
          <pc:docMk/>
          <pc:sldMk cId="1821882584" sldId="532"/>
        </pc:sldMkLst>
        <pc:spChg chg="mod">
          <ac:chgData name="" userId="" providerId="" clId="Web-{9FF60AC5-9CC1-428C-AFB2-37982C7B2678}" dt="2020-04-16T16:09:31.299" v="161" actId="20577"/>
          <ac:spMkLst>
            <pc:docMk/>
            <pc:sldMk cId="1821882584" sldId="532"/>
            <ac:spMk id="4" creationId="{00000000-0000-0000-0000-000000000000}"/>
          </ac:spMkLst>
        </pc:spChg>
        <pc:spChg chg="mod">
          <ac:chgData name="" userId="" providerId="" clId="Web-{9FF60AC5-9CC1-428C-AFB2-37982C7B2678}" dt="2020-04-16T15:59:33.391" v="20" actId="20577"/>
          <ac:spMkLst>
            <pc:docMk/>
            <pc:sldMk cId="1821882584" sldId="532"/>
            <ac:spMk id="9" creationId="{00000000-0000-0000-0000-000000000000}"/>
          </ac:spMkLst>
        </pc:spChg>
      </pc:sldChg>
      <pc:sldChg chg="modSp">
        <pc:chgData name="" userId="" providerId="" clId="Web-{9FF60AC5-9CC1-428C-AFB2-37982C7B2678}" dt="2020-04-16T16:43:00.012" v="498" actId="20577"/>
        <pc:sldMkLst>
          <pc:docMk/>
          <pc:sldMk cId="1737638578" sldId="534"/>
        </pc:sldMkLst>
        <pc:spChg chg="mod">
          <ac:chgData name="" userId="" providerId="" clId="Web-{9FF60AC5-9CC1-428C-AFB2-37982C7B2678}" dt="2020-04-16T16:19:34.316" v="293" actId="20577"/>
          <ac:spMkLst>
            <pc:docMk/>
            <pc:sldMk cId="1737638578" sldId="534"/>
            <ac:spMk id="4" creationId="{00000000-0000-0000-0000-000000000000}"/>
          </ac:spMkLst>
        </pc:spChg>
        <pc:spChg chg="mod">
          <ac:chgData name="" userId="" providerId="" clId="Web-{9FF60AC5-9CC1-428C-AFB2-37982C7B2678}" dt="2020-04-16T16:43:00.012" v="498" actId="20577"/>
          <ac:spMkLst>
            <pc:docMk/>
            <pc:sldMk cId="1737638578" sldId="534"/>
            <ac:spMk id="9" creationId="{00000000-0000-0000-0000-000000000000}"/>
          </ac:spMkLst>
        </pc:spChg>
      </pc:sldChg>
      <pc:sldChg chg="modSp">
        <pc:chgData name="" userId="" providerId="" clId="Web-{9FF60AC5-9CC1-428C-AFB2-37982C7B2678}" dt="2020-04-16T16:30:02.975" v="373" actId="20577"/>
        <pc:sldMkLst>
          <pc:docMk/>
          <pc:sldMk cId="2611977730" sldId="537"/>
        </pc:sldMkLst>
        <pc:spChg chg="mod">
          <ac:chgData name="" userId="" providerId="" clId="Web-{9FF60AC5-9CC1-428C-AFB2-37982C7B2678}" dt="2020-04-16T16:30:02.975" v="373" actId="20577"/>
          <ac:spMkLst>
            <pc:docMk/>
            <pc:sldMk cId="2611977730" sldId="537"/>
            <ac:spMk id="9" creationId="{00000000-0000-0000-0000-000000000000}"/>
          </ac:spMkLst>
        </pc:spChg>
      </pc:sldChg>
      <pc:sldChg chg="modSp">
        <pc:chgData name="" userId="" providerId="" clId="Web-{9FF60AC5-9CC1-428C-AFB2-37982C7B2678}" dt="2020-04-16T16:09:09.829" v="157" actId="20577"/>
        <pc:sldMkLst>
          <pc:docMk/>
          <pc:sldMk cId="3880060180" sldId="538"/>
        </pc:sldMkLst>
        <pc:spChg chg="mod">
          <ac:chgData name="" userId="" providerId="" clId="Web-{9FF60AC5-9CC1-428C-AFB2-37982C7B2678}" dt="2020-04-16T16:09:09.829" v="157" actId="20577"/>
          <ac:spMkLst>
            <pc:docMk/>
            <pc:sldMk cId="3880060180" sldId="538"/>
            <ac:spMk id="4" creationId="{00000000-0000-0000-0000-000000000000}"/>
          </ac:spMkLst>
        </pc:spChg>
        <pc:spChg chg="mod">
          <ac:chgData name="" userId="" providerId="" clId="Web-{9FF60AC5-9CC1-428C-AFB2-37982C7B2678}" dt="2020-04-16T16:04:52.072" v="133" actId="20577"/>
          <ac:spMkLst>
            <pc:docMk/>
            <pc:sldMk cId="3880060180" sldId="538"/>
            <ac:spMk id="9" creationId="{00000000-0000-0000-0000-000000000000}"/>
          </ac:spMkLst>
        </pc:spChg>
      </pc:sldChg>
      <pc:sldChg chg="modSp">
        <pc:chgData name="" userId="" providerId="" clId="Web-{9FF60AC5-9CC1-428C-AFB2-37982C7B2678}" dt="2020-04-16T16:09:22.439" v="159" actId="20577"/>
        <pc:sldMkLst>
          <pc:docMk/>
          <pc:sldMk cId="4231793924" sldId="540"/>
        </pc:sldMkLst>
        <pc:spChg chg="mod">
          <ac:chgData name="" userId="" providerId="" clId="Web-{9FF60AC5-9CC1-428C-AFB2-37982C7B2678}" dt="2020-04-16T16:09:22.439" v="159" actId="20577"/>
          <ac:spMkLst>
            <pc:docMk/>
            <pc:sldMk cId="4231793924" sldId="540"/>
            <ac:spMk id="4" creationId="{00000000-0000-0000-0000-000000000000}"/>
          </ac:spMkLst>
        </pc:spChg>
      </pc:sldChg>
      <pc:sldChg chg="modSp">
        <pc:chgData name="" userId="" providerId="" clId="Web-{9FF60AC5-9CC1-428C-AFB2-37982C7B2678}" dt="2020-04-16T16:10:27.958" v="169" actId="20577"/>
        <pc:sldMkLst>
          <pc:docMk/>
          <pc:sldMk cId="1619251204" sldId="541"/>
        </pc:sldMkLst>
        <pc:spChg chg="mod">
          <ac:chgData name="" userId="" providerId="" clId="Web-{9FF60AC5-9CC1-428C-AFB2-37982C7B2678}" dt="2020-04-16T16:10:27.958" v="169" actId="20577"/>
          <ac:spMkLst>
            <pc:docMk/>
            <pc:sldMk cId="1619251204" sldId="541"/>
            <ac:spMk id="4" creationId="{00000000-0000-0000-0000-000000000000}"/>
          </ac:spMkLst>
        </pc:spChg>
      </pc:sldChg>
      <pc:sldChg chg="modSp">
        <pc:chgData name="" userId="" providerId="" clId="Web-{9FF60AC5-9CC1-428C-AFB2-37982C7B2678}" dt="2020-04-16T17:02:31.592" v="807" actId="20577"/>
        <pc:sldMkLst>
          <pc:docMk/>
          <pc:sldMk cId="3198457019" sldId="542"/>
        </pc:sldMkLst>
        <pc:spChg chg="mod">
          <ac:chgData name="" userId="" providerId="" clId="Web-{9FF60AC5-9CC1-428C-AFB2-37982C7B2678}" dt="2020-04-16T17:02:31.592" v="807" actId="20577"/>
          <ac:spMkLst>
            <pc:docMk/>
            <pc:sldMk cId="3198457019" sldId="542"/>
            <ac:spMk id="3" creationId="{00000000-0000-0000-0000-000000000000}"/>
          </ac:spMkLst>
        </pc:spChg>
        <pc:spChg chg="mod">
          <ac:chgData name="" userId="" providerId="" clId="Web-{9FF60AC5-9CC1-428C-AFB2-37982C7B2678}" dt="2020-04-16T16:55:13.127" v="669" actId="20577"/>
          <ac:spMkLst>
            <pc:docMk/>
            <pc:sldMk cId="3198457019" sldId="542"/>
            <ac:spMk id="4" creationId="{00000000-0000-0000-0000-000000000000}"/>
          </ac:spMkLst>
        </pc:spChg>
        <pc:spChg chg="mod">
          <ac:chgData name="" userId="" providerId="" clId="Web-{9FF60AC5-9CC1-428C-AFB2-37982C7B2678}" dt="2020-04-16T16:56:46.551" v="713" actId="20577"/>
          <ac:spMkLst>
            <pc:docMk/>
            <pc:sldMk cId="3198457019" sldId="542"/>
            <ac:spMk id="9" creationId="{00000000-0000-0000-0000-000000000000}"/>
          </ac:spMkLst>
        </pc:spChg>
      </pc:sldChg>
      <pc:sldChg chg="modSp">
        <pc:chgData name="" userId="" providerId="" clId="Web-{9FF60AC5-9CC1-428C-AFB2-37982C7B2678}" dt="2020-04-16T16:51:18.433" v="606" actId="20577"/>
        <pc:sldMkLst>
          <pc:docMk/>
          <pc:sldMk cId="959614714" sldId="543"/>
        </pc:sldMkLst>
        <pc:spChg chg="mod">
          <ac:chgData name="" userId="" providerId="" clId="Web-{9FF60AC5-9CC1-428C-AFB2-37982C7B2678}" dt="2020-04-16T16:51:18.433" v="606" actId="20577"/>
          <ac:spMkLst>
            <pc:docMk/>
            <pc:sldMk cId="959614714" sldId="543"/>
            <ac:spMk id="3" creationId="{00000000-0000-0000-0000-000000000000}"/>
          </ac:spMkLst>
        </pc:spChg>
        <pc:spChg chg="mod">
          <ac:chgData name="" userId="" providerId="" clId="Web-{9FF60AC5-9CC1-428C-AFB2-37982C7B2678}" dt="2020-04-16T16:50:44.197" v="604" actId="20577"/>
          <ac:spMkLst>
            <pc:docMk/>
            <pc:sldMk cId="959614714" sldId="543"/>
            <ac:spMk id="4" creationId="{00000000-0000-0000-0000-000000000000}"/>
          </ac:spMkLst>
        </pc:spChg>
        <pc:spChg chg="mod">
          <ac:chgData name="" userId="" providerId="" clId="Web-{9FF60AC5-9CC1-428C-AFB2-37982C7B2678}" dt="2020-04-16T16:50:35.994" v="602" actId="20577"/>
          <ac:spMkLst>
            <pc:docMk/>
            <pc:sldMk cId="959614714" sldId="543"/>
            <ac:spMk id="9" creationId="{00000000-0000-0000-0000-000000000000}"/>
          </ac:spMkLst>
        </pc:spChg>
      </pc:sldChg>
      <pc:sldChg chg="modSp">
        <pc:chgData name="" userId="" providerId="" clId="Web-{9FF60AC5-9CC1-428C-AFB2-37982C7B2678}" dt="2020-04-16T16:17:45.203" v="282"/>
        <pc:sldMkLst>
          <pc:docMk/>
          <pc:sldMk cId="4161929214" sldId="547"/>
        </pc:sldMkLst>
        <pc:spChg chg="mod">
          <ac:chgData name="" userId="" providerId="" clId="Web-{9FF60AC5-9CC1-428C-AFB2-37982C7B2678}" dt="2020-04-16T16:17:45.203" v="282"/>
          <ac:spMkLst>
            <pc:docMk/>
            <pc:sldMk cId="4161929214" sldId="547"/>
            <ac:spMk id="9" creationId="{00000000-0000-0000-0000-000000000000}"/>
          </ac:spMkLst>
        </pc:spChg>
      </pc:sldChg>
      <pc:sldChg chg="modSp">
        <pc:chgData name="" userId="" providerId="" clId="Web-{9FF60AC5-9CC1-428C-AFB2-37982C7B2678}" dt="2020-04-16T16:13:22.946" v="201" actId="20577"/>
        <pc:sldMkLst>
          <pc:docMk/>
          <pc:sldMk cId="3901336420" sldId="550"/>
        </pc:sldMkLst>
        <pc:spChg chg="mod">
          <ac:chgData name="" userId="" providerId="" clId="Web-{9FF60AC5-9CC1-428C-AFB2-37982C7B2678}" dt="2020-04-16T16:12:28.991" v="188" actId="20577"/>
          <ac:spMkLst>
            <pc:docMk/>
            <pc:sldMk cId="3901336420" sldId="550"/>
            <ac:spMk id="4" creationId="{00000000-0000-0000-0000-000000000000}"/>
          </ac:spMkLst>
        </pc:spChg>
        <pc:spChg chg="mod">
          <ac:chgData name="" userId="" providerId="" clId="Web-{9FF60AC5-9CC1-428C-AFB2-37982C7B2678}" dt="2020-04-16T16:13:22.946" v="201" actId="20577"/>
          <ac:spMkLst>
            <pc:docMk/>
            <pc:sldMk cId="3901336420" sldId="550"/>
            <ac:spMk id="9" creationId="{00000000-0000-0000-0000-000000000000}"/>
          </ac:spMkLst>
        </pc:spChg>
      </pc:sldChg>
      <pc:sldChg chg="modSp">
        <pc:chgData name="" userId="" providerId="" clId="Web-{9FF60AC5-9CC1-428C-AFB2-37982C7B2678}" dt="2020-04-16T16:08:11.718" v="155" actId="20577"/>
        <pc:sldMkLst>
          <pc:docMk/>
          <pc:sldMk cId="4264955275" sldId="551"/>
        </pc:sldMkLst>
        <pc:spChg chg="mod">
          <ac:chgData name="" userId="" providerId="" clId="Web-{9FF60AC5-9CC1-428C-AFB2-37982C7B2678}" dt="2020-04-16T16:08:11.718" v="155" actId="20577"/>
          <ac:spMkLst>
            <pc:docMk/>
            <pc:sldMk cId="4264955275" sldId="551"/>
            <ac:spMk id="4" creationId="{00000000-0000-0000-0000-000000000000}"/>
          </ac:spMkLst>
        </pc:spChg>
      </pc:sldChg>
      <pc:sldChg chg="modSp">
        <pc:chgData name="" userId="" providerId="" clId="Web-{9FF60AC5-9CC1-428C-AFB2-37982C7B2678}" dt="2020-04-16T16:06:08.387" v="139" actId="20577"/>
        <pc:sldMkLst>
          <pc:docMk/>
          <pc:sldMk cId="1575362257" sldId="553"/>
        </pc:sldMkLst>
        <pc:spChg chg="mod">
          <ac:chgData name="" userId="" providerId="" clId="Web-{9FF60AC5-9CC1-428C-AFB2-37982C7B2678}" dt="2020-04-16T16:06:03.027" v="136" actId="20577"/>
          <ac:spMkLst>
            <pc:docMk/>
            <pc:sldMk cId="1575362257" sldId="553"/>
            <ac:spMk id="4" creationId="{00000000-0000-0000-0000-000000000000}"/>
          </ac:spMkLst>
        </pc:spChg>
        <pc:spChg chg="mod">
          <ac:chgData name="" userId="" providerId="" clId="Web-{9FF60AC5-9CC1-428C-AFB2-37982C7B2678}" dt="2020-04-16T16:06:08.387" v="139" actId="20577"/>
          <ac:spMkLst>
            <pc:docMk/>
            <pc:sldMk cId="1575362257" sldId="553"/>
            <ac:spMk id="9" creationId="{00000000-0000-0000-0000-000000000000}"/>
          </ac:spMkLst>
        </pc:spChg>
      </pc:sldChg>
      <pc:sldChg chg="modSp">
        <pc:chgData name="" userId="" providerId="" clId="Web-{9FF60AC5-9CC1-428C-AFB2-37982C7B2678}" dt="2020-04-16T16:54:16.578" v="662" actId="20577"/>
        <pc:sldMkLst>
          <pc:docMk/>
          <pc:sldMk cId="3014070648" sldId="554"/>
        </pc:sldMkLst>
        <pc:spChg chg="mod">
          <ac:chgData name="" userId="" providerId="" clId="Web-{9FF60AC5-9CC1-428C-AFB2-37982C7B2678}" dt="2020-04-16T16:51:26.886" v="608" actId="20577"/>
          <ac:spMkLst>
            <pc:docMk/>
            <pc:sldMk cId="3014070648" sldId="554"/>
            <ac:spMk id="4" creationId="{00000000-0000-0000-0000-000000000000}"/>
          </ac:spMkLst>
        </pc:spChg>
        <pc:spChg chg="mod">
          <ac:chgData name="" userId="" providerId="" clId="Web-{9FF60AC5-9CC1-428C-AFB2-37982C7B2678}" dt="2020-04-16T16:54:16.578" v="662" actId="20577"/>
          <ac:spMkLst>
            <pc:docMk/>
            <pc:sldMk cId="3014070648" sldId="554"/>
            <ac:spMk id="9" creationId="{00000000-0000-0000-0000-000000000000}"/>
          </ac:spMkLst>
        </pc:spChg>
      </pc:sldChg>
      <pc:sldChg chg="modSp">
        <pc:chgData name="" userId="" providerId="" clId="Web-{9FF60AC5-9CC1-428C-AFB2-37982C7B2678}" dt="2020-04-16T16:12:21.366" v="186" actId="20577"/>
        <pc:sldMkLst>
          <pc:docMk/>
          <pc:sldMk cId="2018171156" sldId="555"/>
        </pc:sldMkLst>
        <pc:spChg chg="mod">
          <ac:chgData name="" userId="" providerId="" clId="Web-{9FF60AC5-9CC1-428C-AFB2-37982C7B2678}" dt="2020-04-16T16:12:21.366" v="186" actId="20577"/>
          <ac:spMkLst>
            <pc:docMk/>
            <pc:sldMk cId="2018171156" sldId="555"/>
            <ac:spMk id="4" creationId="{00000000-0000-0000-0000-000000000000}"/>
          </ac:spMkLst>
        </pc:spChg>
      </pc:sldChg>
      <pc:sldChg chg="modSp">
        <pc:chgData name="" userId="" providerId="" clId="Web-{9FF60AC5-9CC1-428C-AFB2-37982C7B2678}" dt="2020-04-16T16:07:23.420" v="147" actId="20577"/>
        <pc:sldMkLst>
          <pc:docMk/>
          <pc:sldMk cId="2666712792" sldId="560"/>
        </pc:sldMkLst>
        <pc:spChg chg="mod">
          <ac:chgData name="" userId="" providerId="" clId="Web-{9FF60AC5-9CC1-428C-AFB2-37982C7B2678}" dt="2020-04-16T16:07:23.420" v="147" actId="20577"/>
          <ac:spMkLst>
            <pc:docMk/>
            <pc:sldMk cId="2666712792" sldId="560"/>
            <ac:spMk id="4" creationId="{00000000-0000-0000-0000-000000000000}"/>
          </ac:spMkLst>
        </pc:spChg>
      </pc:sldChg>
      <pc:sldChg chg="modSp">
        <pc:chgData name="" userId="" providerId="" clId="Web-{9FF60AC5-9CC1-428C-AFB2-37982C7B2678}" dt="2020-04-16T15:53:52.959" v="9" actId="20577"/>
        <pc:sldMkLst>
          <pc:docMk/>
          <pc:sldMk cId="69631048" sldId="569"/>
        </pc:sldMkLst>
        <pc:spChg chg="mod">
          <ac:chgData name="" userId="" providerId="" clId="Web-{9FF60AC5-9CC1-428C-AFB2-37982C7B2678}" dt="2020-04-16T15:53:52.959" v="9" actId="20577"/>
          <ac:spMkLst>
            <pc:docMk/>
            <pc:sldMk cId="69631048" sldId="569"/>
            <ac:spMk id="10" creationId="{00000000-0000-0000-0000-000000000000}"/>
          </ac:spMkLst>
        </pc:spChg>
      </pc:sldChg>
      <pc:sldChg chg="modSp">
        <pc:chgData name="" userId="" providerId="" clId="Web-{9FF60AC5-9CC1-428C-AFB2-37982C7B2678}" dt="2020-04-16T17:03:33.079" v="810" actId="20577"/>
        <pc:sldMkLst>
          <pc:docMk/>
          <pc:sldMk cId="3764322134" sldId="577"/>
        </pc:sldMkLst>
        <pc:spChg chg="mod">
          <ac:chgData name="" userId="" providerId="" clId="Web-{9FF60AC5-9CC1-428C-AFB2-37982C7B2678}" dt="2020-04-16T17:02:54.077" v="809" actId="20577"/>
          <ac:spMkLst>
            <pc:docMk/>
            <pc:sldMk cId="3764322134" sldId="577"/>
            <ac:spMk id="4" creationId="{00000000-0000-0000-0000-000000000000}"/>
          </ac:spMkLst>
        </pc:spChg>
        <pc:spChg chg="mod">
          <ac:chgData name="" userId="" providerId="" clId="Web-{9FF60AC5-9CC1-428C-AFB2-37982C7B2678}" dt="2020-04-16T17:03:33.079" v="810" actId="20577"/>
          <ac:spMkLst>
            <pc:docMk/>
            <pc:sldMk cId="3764322134" sldId="577"/>
            <ac:spMk id="9" creationId="{00000000-0000-0000-0000-000000000000}"/>
          </ac:spMkLst>
        </pc:spChg>
      </pc:sldChg>
      <pc:sldChg chg="modSp">
        <pc:chgData name="" userId="" providerId="" clId="Web-{9FF60AC5-9CC1-428C-AFB2-37982C7B2678}" dt="2020-04-16T16:23:52.355" v="342" actId="20577"/>
        <pc:sldMkLst>
          <pc:docMk/>
          <pc:sldMk cId="2074660268" sldId="586"/>
        </pc:sldMkLst>
        <pc:spChg chg="mod">
          <ac:chgData name="" userId="" providerId="" clId="Web-{9FF60AC5-9CC1-428C-AFB2-37982C7B2678}" dt="2020-04-16T16:23:52.355" v="342" actId="20577"/>
          <ac:spMkLst>
            <pc:docMk/>
            <pc:sldMk cId="2074660268" sldId="586"/>
            <ac:spMk id="9" creationId="{00000000-0000-0000-0000-000000000000}"/>
          </ac:spMkLst>
        </pc:spChg>
      </pc:sldChg>
    </pc:docChg>
  </pc:docChgLst>
  <pc:docChgLst>
    <pc:chgData clId="Web-{9C8FDE32-E0B0-463B-9A28-CB6ADC16ABBB}"/>
    <pc:docChg chg="modSld">
      <pc:chgData name="" userId="" providerId="" clId="Web-{9C8FDE32-E0B0-463B-9A28-CB6ADC16ABBB}" dt="2020-04-16T13:39:57.787" v="0" actId="20577"/>
      <pc:docMkLst>
        <pc:docMk/>
      </pc:docMkLst>
      <pc:sldChg chg="modSp">
        <pc:chgData name="" userId="" providerId="" clId="Web-{9C8FDE32-E0B0-463B-9A28-CB6ADC16ABBB}" dt="2020-04-16T13:39:57.787" v="0" actId="20577"/>
        <pc:sldMkLst>
          <pc:docMk/>
          <pc:sldMk cId="1272481722" sldId="431"/>
        </pc:sldMkLst>
        <pc:spChg chg="mod">
          <ac:chgData name="" userId="" providerId="" clId="Web-{9C8FDE32-E0B0-463B-9A28-CB6ADC16ABBB}" dt="2020-04-16T13:39:57.787" v="0" actId="20577"/>
          <ac:spMkLst>
            <pc:docMk/>
            <pc:sldMk cId="1272481722" sldId="431"/>
            <ac:spMk id="3" creationId="{00000000-0000-0000-0000-000000000000}"/>
          </ac:spMkLst>
        </pc:spChg>
      </pc:sldChg>
    </pc:docChg>
  </pc:docChgLst>
  <pc:docChgLst>
    <pc:chgData clId="Web-{ECCC7C89-6D87-4261-BCB5-6A7F4EB59CF4}"/>
    <pc:docChg chg="modSld">
      <pc:chgData name="" userId="" providerId="" clId="Web-{ECCC7C89-6D87-4261-BCB5-6A7F4EB59CF4}" dt="2020-03-30T11:02:09.759" v="288" actId="20577"/>
      <pc:docMkLst>
        <pc:docMk/>
      </pc:docMkLst>
      <pc:sldChg chg="modSp">
        <pc:chgData name="" userId="" providerId="" clId="Web-{ECCC7C89-6D87-4261-BCB5-6A7F4EB59CF4}" dt="2020-03-30T11:02:09.759" v="288" actId="20577"/>
        <pc:sldMkLst>
          <pc:docMk/>
          <pc:sldMk cId="2606758311" sldId="419"/>
        </pc:sldMkLst>
        <pc:spChg chg="mod">
          <ac:chgData name="" userId="" providerId="" clId="Web-{ECCC7C89-6D87-4261-BCB5-6A7F4EB59CF4}" dt="2020-03-30T10:47:49.056" v="123" actId="20577"/>
          <ac:spMkLst>
            <pc:docMk/>
            <pc:sldMk cId="2606758311" sldId="419"/>
            <ac:spMk id="3" creationId="{00000000-0000-0000-0000-000000000000}"/>
          </ac:spMkLst>
        </pc:spChg>
        <pc:spChg chg="mod">
          <ac:chgData name="" userId="" providerId="" clId="Web-{ECCC7C89-6D87-4261-BCB5-6A7F4EB59CF4}" dt="2020-03-30T10:55:07.228" v="268" actId="20577"/>
          <ac:spMkLst>
            <pc:docMk/>
            <pc:sldMk cId="2606758311" sldId="419"/>
            <ac:spMk id="4" creationId="{00000000-0000-0000-0000-000000000000}"/>
          </ac:spMkLst>
        </pc:spChg>
        <pc:spChg chg="mod">
          <ac:chgData name="" userId="" providerId="" clId="Web-{ECCC7C89-6D87-4261-BCB5-6A7F4EB59CF4}" dt="2020-03-30T11:02:09.759" v="288" actId="20577"/>
          <ac:spMkLst>
            <pc:docMk/>
            <pc:sldMk cId="2606758311" sldId="419"/>
            <ac:spMk id="9" creationId="{00000000-0000-0000-0000-000000000000}"/>
          </ac:spMkLst>
        </pc:spChg>
      </pc:sldChg>
    </pc:docChg>
  </pc:docChgLst>
  <pc:docChgLst>
    <pc:chgData clId="Web-{241698DF-0D8D-4F3D-B7FC-16947C3CDF04}"/>
    <pc:docChg chg="modSld">
      <pc:chgData name="" userId="" providerId="" clId="Web-{241698DF-0D8D-4F3D-B7FC-16947C3CDF04}" dt="2020-04-15T10:37:12.574" v="0" actId="20577"/>
      <pc:docMkLst>
        <pc:docMk/>
      </pc:docMkLst>
      <pc:sldChg chg="modSp">
        <pc:chgData name="" userId="" providerId="" clId="Web-{241698DF-0D8D-4F3D-B7FC-16947C3CDF04}" dt="2020-04-15T10:37:12.574" v="0" actId="20577"/>
        <pc:sldMkLst>
          <pc:docMk/>
          <pc:sldMk cId="2596171413" sldId="587"/>
        </pc:sldMkLst>
        <pc:spChg chg="mod">
          <ac:chgData name="" userId="" providerId="" clId="Web-{241698DF-0D8D-4F3D-B7FC-16947C3CDF04}" dt="2020-04-15T10:37:12.574" v="0" actId="20577"/>
          <ac:spMkLst>
            <pc:docMk/>
            <pc:sldMk cId="2596171413" sldId="587"/>
            <ac:spMk id="10" creationId="{00000000-0000-0000-0000-000000000000}"/>
          </ac:spMkLst>
        </pc:spChg>
      </pc:sldChg>
    </pc:docChg>
  </pc:docChgLst>
  <pc:docChgLst>
    <pc:chgData clId="Web-{79AFAE24-8EA3-4527-B97B-33E067DAC5B2}"/>
    <pc:docChg chg="modSld">
      <pc:chgData name="" userId="" providerId="" clId="Web-{79AFAE24-8EA3-4527-B97B-33E067DAC5B2}" dt="2020-04-15T10:26:24.102" v="1" actId="20577"/>
      <pc:docMkLst>
        <pc:docMk/>
      </pc:docMkLst>
      <pc:sldChg chg="modSp">
        <pc:chgData name="" userId="" providerId="" clId="Web-{79AFAE24-8EA3-4527-B97B-33E067DAC5B2}" dt="2020-04-15T10:26:24.102" v="1" actId="20577"/>
        <pc:sldMkLst>
          <pc:docMk/>
          <pc:sldMk cId="2596171413" sldId="587"/>
        </pc:sldMkLst>
        <pc:spChg chg="mod">
          <ac:chgData name="" userId="" providerId="" clId="Web-{79AFAE24-8EA3-4527-B97B-33E067DAC5B2}" dt="2020-04-15T10:26:24.102" v="1" actId="20577"/>
          <ac:spMkLst>
            <pc:docMk/>
            <pc:sldMk cId="2596171413" sldId="587"/>
            <ac:spMk id="11" creationId="{00000000-0000-0000-0000-000000000000}"/>
          </ac:spMkLst>
        </pc:spChg>
      </pc:sldChg>
    </pc:docChg>
  </pc:docChgLst>
  <pc:docChgLst>
    <pc:chgData clId="Web-{AFDF1980-D51A-40F7-B6C8-082D9338848E}"/>
    <pc:docChg chg="addSld modSld">
      <pc:chgData name="" userId="" providerId="" clId="Web-{AFDF1980-D51A-40F7-B6C8-082D9338848E}" dt="2020-03-30T10:47:33.853" v="894" actId="20577"/>
      <pc:docMkLst>
        <pc:docMk/>
      </pc:docMkLst>
      <pc:sldChg chg="add replId">
        <pc:chgData name="" userId="" providerId="" clId="Web-{AFDF1980-D51A-40F7-B6C8-082D9338848E}" dt="2020-03-30T09:14:11.663" v="0"/>
        <pc:sldMkLst>
          <pc:docMk/>
          <pc:sldMk cId="1047050830" sldId="420"/>
        </pc:sldMkLst>
      </pc:sldChg>
      <pc:sldChg chg="addSp delSp modSp add replId">
        <pc:chgData name="" userId="" providerId="" clId="Web-{AFDF1980-D51A-40F7-B6C8-082D9338848E}" dt="2020-03-30T10:47:33.853" v="894" actId="20577"/>
        <pc:sldMkLst>
          <pc:docMk/>
          <pc:sldMk cId="2399085983" sldId="421"/>
        </pc:sldMkLst>
        <pc:spChg chg="mod">
          <ac:chgData name="" userId="" providerId="" clId="Web-{AFDF1980-D51A-40F7-B6C8-082D9338848E}" dt="2020-03-30T10:45:28.587" v="843" actId="20577"/>
          <ac:spMkLst>
            <pc:docMk/>
            <pc:sldMk cId="2399085983" sldId="421"/>
            <ac:spMk id="3" creationId="{00000000-0000-0000-0000-000000000000}"/>
          </ac:spMkLst>
        </pc:spChg>
        <pc:spChg chg="mod">
          <ac:chgData name="" userId="" providerId="" clId="Web-{AFDF1980-D51A-40F7-B6C8-082D9338848E}" dt="2020-03-30T10:47:33.853" v="894" actId="20577"/>
          <ac:spMkLst>
            <pc:docMk/>
            <pc:sldMk cId="2399085983" sldId="421"/>
            <ac:spMk id="4" creationId="{00000000-0000-0000-0000-000000000000}"/>
          </ac:spMkLst>
        </pc:spChg>
        <pc:spChg chg="mod">
          <ac:chgData name="" userId="" providerId="" clId="Web-{AFDF1980-D51A-40F7-B6C8-082D9338848E}" dt="2020-03-30T10:46:10.994" v="856" actId="20577"/>
          <ac:spMkLst>
            <pc:docMk/>
            <pc:sldMk cId="2399085983" sldId="421"/>
            <ac:spMk id="5" creationId="{00000000-0000-0000-0000-000000000000}"/>
          </ac:spMkLst>
        </pc:spChg>
        <pc:spChg chg="mod">
          <ac:chgData name="" userId="" providerId="" clId="Web-{AFDF1980-D51A-40F7-B6C8-082D9338848E}" dt="2020-03-30T10:14:22.415" v="504" actId="20577"/>
          <ac:spMkLst>
            <pc:docMk/>
            <pc:sldMk cId="2399085983" sldId="421"/>
            <ac:spMk id="9" creationId="{00000000-0000-0000-0000-000000000000}"/>
          </ac:spMkLst>
        </pc:spChg>
        <pc:picChg chg="add del mod">
          <ac:chgData name="" userId="" providerId="" clId="Web-{AFDF1980-D51A-40F7-B6C8-082D9338848E}" dt="2020-03-30T10:44:03.603" v="837"/>
          <ac:picMkLst>
            <pc:docMk/>
            <pc:sldMk cId="2399085983" sldId="421"/>
            <ac:picMk id="2" creationId="{00000000-0000-0000-0000-000000000000}"/>
          </ac:picMkLst>
        </pc:picChg>
      </pc:sldChg>
      <pc:sldChg chg="add replId">
        <pc:chgData name="" userId="" providerId="" clId="Web-{AFDF1980-D51A-40F7-B6C8-082D9338848E}" dt="2020-03-30T09:14:16.725" v="2"/>
        <pc:sldMkLst>
          <pc:docMk/>
          <pc:sldMk cId="4257425060" sldId="422"/>
        </pc:sldMkLst>
      </pc:sldChg>
      <pc:sldChg chg="add replId">
        <pc:chgData name="" userId="" providerId="" clId="Web-{AFDF1980-D51A-40F7-B6C8-082D9338848E}" dt="2020-03-30T10:17:06.227" v="505"/>
        <pc:sldMkLst>
          <pc:docMk/>
          <pc:sldMk cId="3397481516" sldId="423"/>
        </pc:sldMkLst>
      </pc:sldChg>
      <pc:sldChg chg="modSp add replId">
        <pc:chgData name="" userId="" providerId="" clId="Web-{AFDF1980-D51A-40F7-B6C8-082D9338848E}" dt="2020-03-30T10:45:13.322" v="841"/>
        <pc:sldMkLst>
          <pc:docMk/>
          <pc:sldMk cId="3067797081" sldId="424"/>
        </pc:sldMkLst>
        <pc:picChg chg="mod">
          <ac:chgData name="" userId="" providerId="" clId="Web-{AFDF1980-D51A-40F7-B6C8-082D9338848E}" dt="2020-03-30T10:45:13.322" v="841"/>
          <ac:picMkLst>
            <pc:docMk/>
            <pc:sldMk cId="3067797081" sldId="424"/>
            <ac:picMk id="2" creationId="{00000000-0000-0000-0000-000000000000}"/>
          </ac:picMkLst>
        </pc:picChg>
      </pc:sldChg>
    </pc:docChg>
  </pc:docChgLst>
  <pc:docChgLst>
    <pc:chgData clId="Web-{847AF59E-57FC-4FCA-8700-89BFC5439D73}"/>
    <pc:docChg chg="modSld">
      <pc:chgData name="" userId="" providerId="" clId="Web-{847AF59E-57FC-4FCA-8700-89BFC5439D73}" dt="2020-04-06T11:16:51.987" v="88" actId="20577"/>
      <pc:docMkLst>
        <pc:docMk/>
      </pc:docMkLst>
      <pc:sldChg chg="modSp">
        <pc:chgData name="" userId="" providerId="" clId="Web-{847AF59E-57FC-4FCA-8700-89BFC5439D73}" dt="2020-04-06T11:14:25.533" v="83" actId="20577"/>
        <pc:sldMkLst>
          <pc:docMk/>
          <pc:sldMk cId="2220261670" sldId="426"/>
        </pc:sldMkLst>
        <pc:spChg chg="mod">
          <ac:chgData name="" userId="" providerId="" clId="Web-{847AF59E-57FC-4FCA-8700-89BFC5439D73}" dt="2020-04-06T11:14:25.533" v="83" actId="20577"/>
          <ac:spMkLst>
            <pc:docMk/>
            <pc:sldMk cId="2220261670" sldId="426"/>
            <ac:spMk id="4" creationId="{00000000-0000-0000-0000-000000000000}"/>
          </ac:spMkLst>
        </pc:spChg>
      </pc:sldChg>
      <pc:sldChg chg="modSp">
        <pc:chgData name="" userId="" providerId="" clId="Web-{847AF59E-57FC-4FCA-8700-89BFC5439D73}" dt="2020-04-06T11:10:12.110" v="72" actId="20577"/>
        <pc:sldMkLst>
          <pc:docMk/>
          <pc:sldMk cId="1272481722" sldId="431"/>
        </pc:sldMkLst>
        <pc:spChg chg="mod">
          <ac:chgData name="" userId="" providerId="" clId="Web-{847AF59E-57FC-4FCA-8700-89BFC5439D73}" dt="2020-04-06T11:10:12.110" v="72" actId="20577"/>
          <ac:spMkLst>
            <pc:docMk/>
            <pc:sldMk cId="1272481722" sldId="431"/>
            <ac:spMk id="3" creationId="{00000000-0000-0000-0000-000000000000}"/>
          </ac:spMkLst>
        </pc:spChg>
      </pc:sldChg>
      <pc:sldChg chg="modSp">
        <pc:chgData name="" userId="" providerId="" clId="Web-{847AF59E-57FC-4FCA-8700-89BFC5439D73}" dt="2020-04-06T11:07:58.437" v="54" actId="20577"/>
        <pc:sldMkLst>
          <pc:docMk/>
          <pc:sldMk cId="340428599" sldId="456"/>
        </pc:sldMkLst>
        <pc:spChg chg="mod">
          <ac:chgData name="" userId="" providerId="" clId="Web-{847AF59E-57FC-4FCA-8700-89BFC5439D73}" dt="2020-04-06T11:07:58.437" v="54" actId="20577"/>
          <ac:spMkLst>
            <pc:docMk/>
            <pc:sldMk cId="340428599" sldId="456"/>
            <ac:spMk id="9" creationId="{00000000-0000-0000-0000-000000000000}"/>
          </ac:spMkLst>
        </pc:spChg>
      </pc:sldChg>
      <pc:sldChg chg="modSp">
        <pc:chgData name="" userId="" providerId="" clId="Web-{847AF59E-57FC-4FCA-8700-89BFC5439D73}" dt="2020-04-06T11:16:51.987" v="88" actId="20577"/>
        <pc:sldMkLst>
          <pc:docMk/>
          <pc:sldMk cId="1106773961" sldId="459"/>
        </pc:sldMkLst>
        <pc:spChg chg="mod">
          <ac:chgData name="" userId="" providerId="" clId="Web-{847AF59E-57FC-4FCA-8700-89BFC5439D73}" dt="2020-04-06T11:16:51.987" v="88" actId="20577"/>
          <ac:spMkLst>
            <pc:docMk/>
            <pc:sldMk cId="1106773961" sldId="459"/>
            <ac:spMk id="9" creationId="{00000000-0000-0000-0000-000000000000}"/>
          </ac:spMkLst>
        </pc:spChg>
      </pc:sldChg>
      <pc:sldChg chg="modSp">
        <pc:chgData name="" userId="" providerId="" clId="Web-{847AF59E-57FC-4FCA-8700-89BFC5439D73}" dt="2020-04-06T11:07:22.422" v="51" actId="20577"/>
        <pc:sldMkLst>
          <pc:docMk/>
          <pc:sldMk cId="4195420532" sldId="490"/>
        </pc:sldMkLst>
        <pc:spChg chg="mod">
          <ac:chgData name="" userId="" providerId="" clId="Web-{847AF59E-57FC-4FCA-8700-89BFC5439D73}" dt="2020-04-06T11:07:22.422" v="51" actId="20577"/>
          <ac:spMkLst>
            <pc:docMk/>
            <pc:sldMk cId="4195420532" sldId="490"/>
            <ac:spMk id="3" creationId="{00000000-0000-0000-0000-000000000000}"/>
          </ac:spMkLst>
        </pc:spChg>
      </pc:sldChg>
      <pc:sldChg chg="modSp">
        <pc:chgData name="" userId="" providerId="" clId="Web-{847AF59E-57FC-4FCA-8700-89BFC5439D73}" dt="2020-04-06T11:06:22.140" v="44" actId="20577"/>
        <pc:sldMkLst>
          <pc:docMk/>
          <pc:sldMk cId="2447815408" sldId="497"/>
        </pc:sldMkLst>
        <pc:spChg chg="mod">
          <ac:chgData name="" userId="" providerId="" clId="Web-{847AF59E-57FC-4FCA-8700-89BFC5439D73}" dt="2020-04-06T11:06:22.140" v="44" actId="20577"/>
          <ac:spMkLst>
            <pc:docMk/>
            <pc:sldMk cId="2447815408" sldId="497"/>
            <ac:spMk id="5" creationId="{00000000-0000-0000-0000-000000000000}"/>
          </ac:spMkLst>
        </pc:spChg>
      </pc:sldChg>
      <pc:sldChg chg="modSp">
        <pc:chgData name="" userId="" providerId="" clId="Web-{847AF59E-57FC-4FCA-8700-89BFC5439D73}" dt="2020-04-06T11:08:48.344" v="59" actId="20577"/>
        <pc:sldMkLst>
          <pc:docMk/>
          <pc:sldMk cId="1435204492" sldId="525"/>
        </pc:sldMkLst>
        <pc:spChg chg="mod">
          <ac:chgData name="" userId="" providerId="" clId="Web-{847AF59E-57FC-4FCA-8700-89BFC5439D73}" dt="2020-04-06T11:08:48.344" v="59" actId="20577"/>
          <ac:spMkLst>
            <pc:docMk/>
            <pc:sldMk cId="1435204492" sldId="525"/>
            <ac:spMk id="5" creationId="{00000000-0000-0000-0000-000000000000}"/>
          </ac:spMkLst>
        </pc:spChg>
      </pc:sldChg>
      <pc:sldChg chg="modSp">
        <pc:chgData name="" userId="" providerId="" clId="Web-{847AF59E-57FC-4FCA-8700-89BFC5439D73}" dt="2020-04-06T11:00:35.560" v="13" actId="20577"/>
        <pc:sldMkLst>
          <pc:docMk/>
          <pc:sldMk cId="4058473551" sldId="527"/>
        </pc:sldMkLst>
        <pc:spChg chg="mod">
          <ac:chgData name="" userId="" providerId="" clId="Web-{847AF59E-57FC-4FCA-8700-89BFC5439D73}" dt="2020-04-06T11:00:35.560" v="13" actId="20577"/>
          <ac:spMkLst>
            <pc:docMk/>
            <pc:sldMk cId="4058473551" sldId="527"/>
            <ac:spMk id="5" creationId="{00000000-0000-0000-0000-000000000000}"/>
          </ac:spMkLst>
        </pc:spChg>
        <pc:spChg chg="mod">
          <ac:chgData name="" userId="" providerId="" clId="Web-{847AF59E-57FC-4FCA-8700-89BFC5439D73}" dt="2020-04-06T11:00:10.388" v="4" actId="20577"/>
          <ac:spMkLst>
            <pc:docMk/>
            <pc:sldMk cId="4058473551" sldId="527"/>
            <ac:spMk id="9" creationId="{00000000-0000-0000-0000-000000000000}"/>
          </ac:spMkLst>
        </pc:spChg>
      </pc:sldChg>
      <pc:sldChg chg="modSp">
        <pc:chgData name="" userId="" providerId="" clId="Web-{847AF59E-57FC-4FCA-8700-89BFC5439D73}" dt="2020-04-06T11:13:47.079" v="82" actId="20577"/>
        <pc:sldMkLst>
          <pc:docMk/>
          <pc:sldMk cId="3148406027" sldId="528"/>
        </pc:sldMkLst>
        <pc:spChg chg="mod">
          <ac:chgData name="" userId="" providerId="" clId="Web-{847AF59E-57FC-4FCA-8700-89BFC5439D73}" dt="2020-04-06T11:01:56.607" v="15" actId="20577"/>
          <ac:spMkLst>
            <pc:docMk/>
            <pc:sldMk cId="3148406027" sldId="528"/>
            <ac:spMk id="3" creationId="{00000000-0000-0000-0000-000000000000}"/>
          </ac:spMkLst>
        </pc:spChg>
        <pc:spChg chg="mod">
          <ac:chgData name="" userId="" providerId="" clId="Web-{847AF59E-57FC-4FCA-8700-89BFC5439D73}" dt="2020-04-06T11:04:18.889" v="40" actId="20577"/>
          <ac:spMkLst>
            <pc:docMk/>
            <pc:sldMk cId="3148406027" sldId="528"/>
            <ac:spMk id="4" creationId="{00000000-0000-0000-0000-000000000000}"/>
          </ac:spMkLst>
        </pc:spChg>
        <pc:spChg chg="mod">
          <ac:chgData name="" userId="" providerId="" clId="Web-{847AF59E-57FC-4FCA-8700-89BFC5439D73}" dt="2020-04-06T11:13:47.079" v="82" actId="20577"/>
          <ac:spMkLst>
            <pc:docMk/>
            <pc:sldMk cId="3148406027" sldId="528"/>
            <ac:spMk id="9" creationId="{00000000-0000-0000-0000-000000000000}"/>
          </ac:spMkLst>
        </pc:spChg>
      </pc:sldChg>
      <pc:sldChg chg="modSp">
        <pc:chgData name="" userId="" providerId="" clId="Web-{847AF59E-57FC-4FCA-8700-89BFC5439D73}" dt="2020-04-06T10:59:44.653" v="3" actId="20577"/>
        <pc:sldMkLst>
          <pc:docMk/>
          <pc:sldMk cId="291025221" sldId="531"/>
        </pc:sldMkLst>
        <pc:spChg chg="mod">
          <ac:chgData name="" userId="" providerId="" clId="Web-{847AF59E-57FC-4FCA-8700-89BFC5439D73}" dt="2020-04-06T10:59:44.653" v="3" actId="20577"/>
          <ac:spMkLst>
            <pc:docMk/>
            <pc:sldMk cId="291025221" sldId="531"/>
            <ac:spMk id="3" creationId="{00000000-0000-0000-0000-000000000000}"/>
          </ac:spMkLst>
        </pc:spChg>
      </pc:sldChg>
      <pc:sldChg chg="modSp">
        <pc:chgData name="" userId="" providerId="" clId="Web-{847AF59E-57FC-4FCA-8700-89BFC5439D73}" dt="2020-04-06T11:04:00.498" v="38" actId="20577"/>
        <pc:sldMkLst>
          <pc:docMk/>
          <pc:sldMk cId="3339981559" sldId="536"/>
        </pc:sldMkLst>
        <pc:spChg chg="mod">
          <ac:chgData name="" userId="" providerId="" clId="Web-{847AF59E-57FC-4FCA-8700-89BFC5439D73}" dt="2020-04-06T11:04:00.498" v="38" actId="20577"/>
          <ac:spMkLst>
            <pc:docMk/>
            <pc:sldMk cId="3339981559" sldId="536"/>
            <ac:spMk id="4" creationId="{00000000-0000-0000-0000-000000000000}"/>
          </ac:spMkLst>
        </pc:spChg>
      </pc:sldChg>
      <pc:sldChg chg="modSp">
        <pc:chgData name="" userId="" providerId="" clId="Web-{847AF59E-57FC-4FCA-8700-89BFC5439D73}" dt="2020-04-06T11:12:25.673" v="77" actId="20577"/>
        <pc:sldMkLst>
          <pc:docMk/>
          <pc:sldMk cId="3880060180" sldId="538"/>
        </pc:sldMkLst>
        <pc:spChg chg="mod">
          <ac:chgData name="" userId="" providerId="" clId="Web-{847AF59E-57FC-4FCA-8700-89BFC5439D73}" dt="2020-04-06T11:12:25.673" v="77" actId="20577"/>
          <ac:spMkLst>
            <pc:docMk/>
            <pc:sldMk cId="3880060180" sldId="538"/>
            <ac:spMk id="9" creationId="{00000000-0000-0000-0000-000000000000}"/>
          </ac:spMkLst>
        </pc:spChg>
      </pc:sldChg>
      <pc:sldChg chg="modSp">
        <pc:chgData name="" userId="" providerId="" clId="Web-{847AF59E-57FC-4FCA-8700-89BFC5439D73}" dt="2020-04-06T11:12:07.470" v="75" actId="20577"/>
        <pc:sldMkLst>
          <pc:docMk/>
          <pc:sldMk cId="4231793924" sldId="540"/>
        </pc:sldMkLst>
        <pc:spChg chg="mod">
          <ac:chgData name="" userId="" providerId="" clId="Web-{847AF59E-57FC-4FCA-8700-89BFC5439D73}" dt="2020-04-06T11:12:07.470" v="75" actId="20577"/>
          <ac:spMkLst>
            <pc:docMk/>
            <pc:sldMk cId="4231793924" sldId="540"/>
            <ac:spMk id="3" creationId="{00000000-0000-0000-0000-000000000000}"/>
          </ac:spMkLst>
        </pc:spChg>
      </pc:sldChg>
      <pc:sldChg chg="modSp">
        <pc:chgData name="" userId="" providerId="" clId="Web-{847AF59E-57FC-4FCA-8700-89BFC5439D73}" dt="2020-04-06T11:06:44.140" v="49" actId="20577"/>
        <pc:sldMkLst>
          <pc:docMk/>
          <pc:sldMk cId="3198457019" sldId="542"/>
        </pc:sldMkLst>
        <pc:spChg chg="mod">
          <ac:chgData name="" userId="" providerId="" clId="Web-{847AF59E-57FC-4FCA-8700-89BFC5439D73}" dt="2020-04-06T11:06:44.140" v="49" actId="20577"/>
          <ac:spMkLst>
            <pc:docMk/>
            <pc:sldMk cId="3198457019" sldId="542"/>
            <ac:spMk id="3" creationId="{00000000-0000-0000-0000-000000000000}"/>
          </ac:spMkLst>
        </pc:spChg>
      </pc:sldChg>
      <pc:sldChg chg="modSp">
        <pc:chgData name="" userId="" providerId="" clId="Web-{847AF59E-57FC-4FCA-8700-89BFC5439D73}" dt="2020-04-06T11:09:41.828" v="69" actId="20577"/>
        <pc:sldMkLst>
          <pc:docMk/>
          <pc:sldMk cId="2417815735" sldId="564"/>
        </pc:sldMkLst>
        <pc:spChg chg="mod">
          <ac:chgData name="" userId="" providerId="" clId="Web-{847AF59E-57FC-4FCA-8700-89BFC5439D73}" dt="2020-04-06T11:09:41.828" v="69" actId="20577"/>
          <ac:spMkLst>
            <pc:docMk/>
            <pc:sldMk cId="2417815735" sldId="564"/>
            <ac:spMk id="5" creationId="{00000000-0000-0000-0000-000000000000}"/>
          </ac:spMkLst>
        </pc:spChg>
      </pc:sldChg>
      <pc:sldChg chg="modSp">
        <pc:chgData name="" userId="" providerId="" clId="Web-{847AF59E-57FC-4FCA-8700-89BFC5439D73}" dt="2020-04-06T11:10:47.953" v="73" actId="20577"/>
        <pc:sldMkLst>
          <pc:docMk/>
          <pc:sldMk cId="2834309667" sldId="576"/>
        </pc:sldMkLst>
        <pc:spChg chg="mod">
          <ac:chgData name="" userId="" providerId="" clId="Web-{847AF59E-57FC-4FCA-8700-89BFC5439D73}" dt="2020-04-06T11:10:47.953" v="73" actId="20577"/>
          <ac:spMkLst>
            <pc:docMk/>
            <pc:sldMk cId="2834309667" sldId="576"/>
            <ac:spMk id="3" creationId="{00000000-0000-0000-0000-000000000000}"/>
          </ac:spMkLst>
        </pc:spChg>
      </pc:sldChg>
      <pc:sldChg chg="modSp">
        <pc:chgData name="" userId="" providerId="" clId="Web-{847AF59E-57FC-4FCA-8700-89BFC5439D73}" dt="2020-04-06T11:04:34.420" v="42" actId="20577"/>
        <pc:sldMkLst>
          <pc:docMk/>
          <pc:sldMk cId="1055321509" sldId="583"/>
        </pc:sldMkLst>
        <pc:spChg chg="mod">
          <ac:chgData name="" userId="" providerId="" clId="Web-{847AF59E-57FC-4FCA-8700-89BFC5439D73}" dt="2020-04-06T11:04:34.420" v="42" actId="20577"/>
          <ac:spMkLst>
            <pc:docMk/>
            <pc:sldMk cId="1055321509" sldId="583"/>
            <ac:spMk id="10" creationId="{00000000-0000-0000-0000-000000000000}"/>
          </ac:spMkLst>
        </pc:spChg>
      </pc:sldChg>
    </pc:docChg>
  </pc:docChgLst>
  <pc:docChgLst>
    <pc:chgData clId="Web-{730976FB-385A-4D6D-93A4-4FDE559E1B1C}"/>
    <pc:docChg chg="modSld">
      <pc:chgData name="" userId="" providerId="" clId="Web-{730976FB-385A-4D6D-93A4-4FDE559E1B1C}" dt="2020-04-16T14:41:43.388" v="91" actId="20577"/>
      <pc:docMkLst>
        <pc:docMk/>
      </pc:docMkLst>
      <pc:sldChg chg="modSp">
        <pc:chgData name="" userId="" providerId="" clId="Web-{730976FB-385A-4D6D-93A4-4FDE559E1B1C}" dt="2020-04-16T14:35:16.980" v="76" actId="20577"/>
        <pc:sldMkLst>
          <pc:docMk/>
          <pc:sldMk cId="2220261670" sldId="426"/>
        </pc:sldMkLst>
        <pc:spChg chg="mod">
          <ac:chgData name="" userId="" providerId="" clId="Web-{730976FB-385A-4D6D-93A4-4FDE559E1B1C}" dt="2020-04-16T14:35:16.980" v="76" actId="20577"/>
          <ac:spMkLst>
            <pc:docMk/>
            <pc:sldMk cId="2220261670" sldId="426"/>
            <ac:spMk id="4" creationId="{00000000-0000-0000-0000-000000000000}"/>
          </ac:spMkLst>
        </pc:spChg>
      </pc:sldChg>
      <pc:sldChg chg="modSp">
        <pc:chgData name="" userId="" providerId="" clId="Web-{730976FB-385A-4D6D-93A4-4FDE559E1B1C}" dt="2020-04-16T14:34:02.855" v="73" actId="20577"/>
        <pc:sldMkLst>
          <pc:docMk/>
          <pc:sldMk cId="4219587909" sldId="435"/>
        </pc:sldMkLst>
        <pc:spChg chg="mod">
          <ac:chgData name="" userId="" providerId="" clId="Web-{730976FB-385A-4D6D-93A4-4FDE559E1B1C}" dt="2020-04-16T14:34:02.855" v="73" actId="20577"/>
          <ac:spMkLst>
            <pc:docMk/>
            <pc:sldMk cId="4219587909" sldId="435"/>
            <ac:spMk id="9" creationId="{00000000-0000-0000-0000-000000000000}"/>
          </ac:spMkLst>
        </pc:spChg>
      </pc:sldChg>
      <pc:sldChg chg="modSp">
        <pc:chgData name="" userId="" providerId="" clId="Web-{730976FB-385A-4D6D-93A4-4FDE559E1B1C}" dt="2020-04-16T14:41:43.388" v="91" actId="20577"/>
        <pc:sldMkLst>
          <pc:docMk/>
          <pc:sldMk cId="340428599" sldId="456"/>
        </pc:sldMkLst>
        <pc:spChg chg="mod">
          <ac:chgData name="" userId="" providerId="" clId="Web-{730976FB-385A-4D6D-93A4-4FDE559E1B1C}" dt="2020-04-16T14:41:43.388" v="91" actId="20577"/>
          <ac:spMkLst>
            <pc:docMk/>
            <pc:sldMk cId="340428599" sldId="456"/>
            <ac:spMk id="17" creationId="{00000000-0000-0000-0000-000000000000}"/>
          </ac:spMkLst>
        </pc:spChg>
      </pc:sldChg>
      <pc:sldChg chg="modSp">
        <pc:chgData name="" userId="" providerId="" clId="Web-{730976FB-385A-4D6D-93A4-4FDE559E1B1C}" dt="2020-04-16T14:41:17.419" v="87" actId="20577"/>
        <pc:sldMkLst>
          <pc:docMk/>
          <pc:sldMk cId="315438383" sldId="471"/>
        </pc:sldMkLst>
        <pc:spChg chg="mod">
          <ac:chgData name="" userId="" providerId="" clId="Web-{730976FB-385A-4D6D-93A4-4FDE559E1B1C}" dt="2020-04-16T14:41:17.419" v="87" actId="20577"/>
          <ac:spMkLst>
            <pc:docMk/>
            <pc:sldMk cId="315438383" sldId="471"/>
            <ac:spMk id="4" creationId="{00000000-0000-0000-0000-000000000000}"/>
          </ac:spMkLst>
        </pc:spChg>
      </pc:sldChg>
      <pc:sldChg chg="modSp">
        <pc:chgData name="" userId="" providerId="" clId="Web-{730976FB-385A-4D6D-93A4-4FDE559E1B1C}" dt="2020-04-16T14:30:29.588" v="56" actId="20577"/>
        <pc:sldMkLst>
          <pc:docMk/>
          <pc:sldMk cId="3341997725" sldId="521"/>
        </pc:sldMkLst>
        <pc:spChg chg="mod">
          <ac:chgData name="" userId="" providerId="" clId="Web-{730976FB-385A-4D6D-93A4-4FDE559E1B1C}" dt="2020-04-16T14:30:29.588" v="56" actId="20577"/>
          <ac:spMkLst>
            <pc:docMk/>
            <pc:sldMk cId="3341997725" sldId="521"/>
            <ac:spMk id="4" creationId="{00000000-0000-0000-0000-000000000000}"/>
          </ac:spMkLst>
        </pc:spChg>
      </pc:sldChg>
      <pc:sldChg chg="modSp">
        <pc:chgData name="" userId="" providerId="" clId="Web-{730976FB-385A-4D6D-93A4-4FDE559E1B1C}" dt="2020-04-16T14:28:00.572" v="54" actId="20577"/>
        <pc:sldMkLst>
          <pc:docMk/>
          <pc:sldMk cId="2535216117" sldId="523"/>
        </pc:sldMkLst>
        <pc:spChg chg="mod">
          <ac:chgData name="" userId="" providerId="" clId="Web-{730976FB-385A-4D6D-93A4-4FDE559E1B1C}" dt="2020-04-16T14:28:00.572" v="54" actId="20577"/>
          <ac:spMkLst>
            <pc:docMk/>
            <pc:sldMk cId="2535216117" sldId="523"/>
            <ac:spMk id="9" creationId="{00000000-0000-0000-0000-000000000000}"/>
          </ac:spMkLst>
        </pc:spChg>
      </pc:sldChg>
      <pc:sldChg chg="modSp">
        <pc:chgData name="" userId="" providerId="" clId="Web-{730976FB-385A-4D6D-93A4-4FDE559E1B1C}" dt="2020-04-16T14:33:16.339" v="59" actId="20577"/>
        <pc:sldMkLst>
          <pc:docMk/>
          <pc:sldMk cId="3880060180" sldId="538"/>
        </pc:sldMkLst>
        <pc:spChg chg="mod">
          <ac:chgData name="" userId="" providerId="" clId="Web-{730976FB-385A-4D6D-93A4-4FDE559E1B1C}" dt="2020-04-16T14:33:16.339" v="59" actId="20577"/>
          <ac:spMkLst>
            <pc:docMk/>
            <pc:sldMk cId="3880060180" sldId="538"/>
            <ac:spMk id="9" creationId="{00000000-0000-0000-0000-000000000000}"/>
          </ac:spMkLst>
        </pc:spChg>
      </pc:sldChg>
      <pc:sldChg chg="modSp">
        <pc:chgData name="" userId="" providerId="" clId="Web-{730976FB-385A-4D6D-93A4-4FDE559E1B1C}" dt="2020-04-16T14:26:27.165" v="37" actId="20577"/>
        <pc:sldMkLst>
          <pc:docMk/>
          <pc:sldMk cId="1619251204" sldId="541"/>
        </pc:sldMkLst>
        <pc:spChg chg="mod">
          <ac:chgData name="" userId="" providerId="" clId="Web-{730976FB-385A-4D6D-93A4-4FDE559E1B1C}" dt="2020-04-16T14:26:27.165" v="37" actId="20577"/>
          <ac:spMkLst>
            <pc:docMk/>
            <pc:sldMk cId="1619251204" sldId="541"/>
            <ac:spMk id="3" creationId="{00000000-0000-0000-0000-000000000000}"/>
          </ac:spMkLst>
        </pc:spChg>
      </pc:sldChg>
      <pc:sldChg chg="modSp">
        <pc:chgData name="" userId="" providerId="" clId="Web-{730976FB-385A-4D6D-93A4-4FDE559E1B1C}" dt="2020-04-16T14:40:12.560" v="83" actId="20577"/>
        <pc:sldMkLst>
          <pc:docMk/>
          <pc:sldMk cId="959614714" sldId="543"/>
        </pc:sldMkLst>
        <pc:spChg chg="mod">
          <ac:chgData name="" userId="" providerId="" clId="Web-{730976FB-385A-4D6D-93A4-4FDE559E1B1C}" dt="2020-04-16T14:40:12.560" v="83" actId="20577"/>
          <ac:spMkLst>
            <pc:docMk/>
            <pc:sldMk cId="959614714" sldId="543"/>
            <ac:spMk id="4" creationId="{00000000-0000-0000-0000-000000000000}"/>
          </ac:spMkLst>
        </pc:spChg>
      </pc:sldChg>
      <pc:sldChg chg="modSp">
        <pc:chgData name="" userId="" providerId="" clId="Web-{730976FB-385A-4D6D-93A4-4FDE559E1B1C}" dt="2020-04-16T14:38:27.356" v="82" actId="20577"/>
        <pc:sldMkLst>
          <pc:docMk/>
          <pc:sldMk cId="4161929214" sldId="547"/>
        </pc:sldMkLst>
        <pc:spChg chg="mod">
          <ac:chgData name="" userId="" providerId="" clId="Web-{730976FB-385A-4D6D-93A4-4FDE559E1B1C}" dt="2020-04-16T14:38:27.356" v="82" actId="20577"/>
          <ac:spMkLst>
            <pc:docMk/>
            <pc:sldMk cId="4161929214" sldId="547"/>
            <ac:spMk id="4" creationId="{00000000-0000-0000-0000-000000000000}"/>
          </ac:spMkLst>
        </pc:spChg>
        <pc:spChg chg="mod">
          <ac:chgData name="" userId="" providerId="" clId="Web-{730976FB-385A-4D6D-93A4-4FDE559E1B1C}" dt="2020-04-16T14:37:13.621" v="79" actId="20577"/>
          <ac:spMkLst>
            <pc:docMk/>
            <pc:sldMk cId="4161929214" sldId="547"/>
            <ac:spMk id="5" creationId="{00000000-0000-0000-0000-000000000000}"/>
          </ac:spMkLst>
        </pc:spChg>
      </pc:sldChg>
      <pc:sldChg chg="modSp">
        <pc:chgData name="" userId="" providerId="" clId="Web-{730976FB-385A-4D6D-93A4-4FDE559E1B1C}" dt="2020-04-16T14:22:14.726" v="3" actId="20577"/>
        <pc:sldMkLst>
          <pc:docMk/>
          <pc:sldMk cId="3901336420" sldId="550"/>
        </pc:sldMkLst>
        <pc:spChg chg="mod">
          <ac:chgData name="" userId="" providerId="" clId="Web-{730976FB-385A-4D6D-93A4-4FDE559E1B1C}" dt="2020-04-16T14:22:14.726" v="3" actId="20577"/>
          <ac:spMkLst>
            <pc:docMk/>
            <pc:sldMk cId="3901336420" sldId="550"/>
            <ac:spMk id="9" creationId="{00000000-0000-0000-0000-000000000000}"/>
          </ac:spMkLst>
        </pc:spChg>
      </pc:sldChg>
      <pc:sldChg chg="modSp">
        <pc:chgData name="" userId="" providerId="" clId="Web-{730976FB-385A-4D6D-93A4-4FDE559E1B1C}" dt="2020-04-16T14:22:35.274" v="10" actId="20577"/>
        <pc:sldMkLst>
          <pc:docMk/>
          <pc:sldMk cId="2018171156" sldId="555"/>
        </pc:sldMkLst>
        <pc:spChg chg="mod">
          <ac:chgData name="" userId="" providerId="" clId="Web-{730976FB-385A-4D6D-93A4-4FDE559E1B1C}" dt="2020-04-16T14:22:35.274" v="10" actId="20577"/>
          <ac:spMkLst>
            <pc:docMk/>
            <pc:sldMk cId="2018171156" sldId="555"/>
            <ac:spMk id="9" creationId="{00000000-0000-0000-0000-000000000000}"/>
          </ac:spMkLst>
        </pc:spChg>
      </pc:sldChg>
      <pc:sldChg chg="modSp">
        <pc:chgData name="" userId="" providerId="" clId="Web-{730976FB-385A-4D6D-93A4-4FDE559E1B1C}" dt="2020-04-16T14:26:55.665" v="41" actId="20577"/>
        <pc:sldMkLst>
          <pc:docMk/>
          <pc:sldMk cId="16994055" sldId="559"/>
        </pc:sldMkLst>
        <pc:spChg chg="mod">
          <ac:chgData name="" userId="" providerId="" clId="Web-{730976FB-385A-4D6D-93A4-4FDE559E1B1C}" dt="2020-04-16T14:26:55.665" v="41" actId="20577"/>
          <ac:spMkLst>
            <pc:docMk/>
            <pc:sldMk cId="16994055" sldId="559"/>
            <ac:spMk id="9" creationId="{00000000-0000-0000-0000-000000000000}"/>
          </ac:spMkLst>
        </pc:spChg>
      </pc:sldChg>
      <pc:sldChg chg="modSp">
        <pc:chgData name="" userId="" providerId="" clId="Web-{730976FB-385A-4D6D-93A4-4FDE559E1B1C}" dt="2020-04-16T14:25:59.384" v="35" actId="20577"/>
        <pc:sldMkLst>
          <pc:docMk/>
          <pc:sldMk cId="819376971" sldId="570"/>
        </pc:sldMkLst>
        <pc:spChg chg="mod">
          <ac:chgData name="" userId="" providerId="" clId="Web-{730976FB-385A-4D6D-93A4-4FDE559E1B1C}" dt="2020-04-16T14:25:59.384" v="35" actId="20577"/>
          <ac:spMkLst>
            <pc:docMk/>
            <pc:sldMk cId="819376971" sldId="570"/>
            <ac:spMk id="4" creationId="{00000000-0000-0000-0000-000000000000}"/>
          </ac:spMkLst>
        </pc:spChg>
        <pc:spChg chg="mod">
          <ac:chgData name="" userId="" providerId="" clId="Web-{730976FB-385A-4D6D-93A4-4FDE559E1B1C}" dt="2020-04-16T14:24:39.774" v="18" actId="20577"/>
          <ac:spMkLst>
            <pc:docMk/>
            <pc:sldMk cId="819376971" sldId="570"/>
            <ac:spMk id="5" creationId="{00000000-0000-0000-0000-000000000000}"/>
          </ac:spMkLst>
        </pc:spChg>
      </pc:sldChg>
      <pc:sldChg chg="modSp">
        <pc:chgData name="" userId="" providerId="" clId="Web-{730976FB-385A-4D6D-93A4-4FDE559E1B1C}" dt="2020-04-16T14:41:00.154" v="86" actId="20577"/>
        <pc:sldMkLst>
          <pc:docMk/>
          <pc:sldMk cId="1445631664" sldId="578"/>
        </pc:sldMkLst>
        <pc:spChg chg="mod">
          <ac:chgData name="" userId="" providerId="" clId="Web-{730976FB-385A-4D6D-93A4-4FDE559E1B1C}" dt="2020-04-16T14:41:00.154" v="86" actId="20577"/>
          <ac:spMkLst>
            <pc:docMk/>
            <pc:sldMk cId="1445631664" sldId="578"/>
            <ac:spMk id="12" creationId="{00000000-0000-0000-0000-000000000000}"/>
          </ac:spMkLst>
        </pc:spChg>
      </pc:sldChg>
    </pc:docChg>
  </pc:docChgLst>
  <pc:docChgLst>
    <pc:chgData clId="Web-{57DE11D7-D3D2-410C-99F0-E705862E64A8}"/>
    <pc:docChg chg="addSld modSld">
      <pc:chgData name="" userId="" providerId="" clId="Web-{57DE11D7-D3D2-410C-99F0-E705862E64A8}" dt="2020-04-15T10:15:56.678" v="308" actId="20577"/>
      <pc:docMkLst>
        <pc:docMk/>
      </pc:docMkLst>
      <pc:sldChg chg="modSp add replId">
        <pc:chgData name="" userId="" providerId="" clId="Web-{57DE11D7-D3D2-410C-99F0-E705862E64A8}" dt="2020-04-15T10:15:56.678" v="308" actId="20577"/>
        <pc:sldMkLst>
          <pc:docMk/>
          <pc:sldMk cId="2596171413" sldId="587"/>
        </pc:sldMkLst>
        <pc:spChg chg="mod">
          <ac:chgData name="" userId="" providerId="" clId="Web-{57DE11D7-D3D2-410C-99F0-E705862E64A8}" dt="2020-04-15T10:09:43.324" v="271" actId="20577"/>
          <ac:spMkLst>
            <pc:docMk/>
            <pc:sldMk cId="2596171413" sldId="587"/>
            <ac:spMk id="8" creationId="{00000000-0000-0000-0000-000000000000}"/>
          </ac:spMkLst>
        </pc:spChg>
        <pc:spChg chg="mod">
          <ac:chgData name="" userId="" providerId="" clId="Web-{57DE11D7-D3D2-410C-99F0-E705862E64A8}" dt="2020-04-15T10:15:56.678" v="308" actId="20577"/>
          <ac:spMkLst>
            <pc:docMk/>
            <pc:sldMk cId="2596171413" sldId="587"/>
            <ac:spMk id="10" creationId="{00000000-0000-0000-0000-000000000000}"/>
          </ac:spMkLst>
        </pc:spChg>
        <pc:spChg chg="mod">
          <ac:chgData name="" userId="" providerId="" clId="Web-{57DE11D7-D3D2-410C-99F0-E705862E64A8}" dt="2020-04-15T10:06:04.177" v="259" actId="20577"/>
          <ac:spMkLst>
            <pc:docMk/>
            <pc:sldMk cId="2596171413" sldId="587"/>
            <ac:spMk id="11" creationId="{00000000-0000-0000-0000-000000000000}"/>
          </ac:spMkLst>
        </pc:spChg>
        <pc:spChg chg="mod">
          <ac:chgData name="" userId="" providerId="" clId="Web-{57DE11D7-D3D2-410C-99F0-E705862E64A8}" dt="2020-04-15T10:05:02.972" v="257" actId="20577"/>
          <ac:spMkLst>
            <pc:docMk/>
            <pc:sldMk cId="2596171413" sldId="587"/>
            <ac:spMk id="12" creationId="{00000000-0000-0000-0000-000000000000}"/>
          </ac:spMkLst>
        </pc:spChg>
        <pc:picChg chg="mod">
          <ac:chgData name="" userId="" providerId="" clId="Web-{57DE11D7-D3D2-410C-99F0-E705862E64A8}" dt="2020-04-15T10:09:15.948" v="269"/>
          <ac:picMkLst>
            <pc:docMk/>
            <pc:sldMk cId="2596171413" sldId="587"/>
            <ac:picMk id="9" creationId="{00000000-0000-0000-0000-000000000000}"/>
          </ac:picMkLst>
        </pc:picChg>
      </pc:sldChg>
    </pc:docChg>
  </pc:docChgLst>
  <pc:docChgLst>
    <pc:chgData clId="Web-{CFB3B2CE-CD4A-4ADD-8A19-7D0C16DD647F}"/>
    <pc:docChg chg="modSld">
      <pc:chgData name="" userId="" providerId="" clId="Web-{CFB3B2CE-CD4A-4ADD-8A19-7D0C16DD647F}" dt="2020-04-24T10:15:26.312" v="12" actId="20577"/>
      <pc:docMkLst>
        <pc:docMk/>
      </pc:docMkLst>
      <pc:sldChg chg="modSp">
        <pc:chgData name="" userId="" providerId="" clId="Web-{CFB3B2CE-CD4A-4ADD-8A19-7D0C16DD647F}" dt="2020-04-24T10:10:45.701" v="10" actId="20577"/>
        <pc:sldMkLst>
          <pc:docMk/>
          <pc:sldMk cId="1435204492" sldId="525"/>
        </pc:sldMkLst>
        <pc:spChg chg="mod">
          <ac:chgData name="" userId="" providerId="" clId="Web-{CFB3B2CE-CD4A-4ADD-8A19-7D0C16DD647F}" dt="2020-04-24T10:10:45.701" v="10" actId="20577"/>
          <ac:spMkLst>
            <pc:docMk/>
            <pc:sldMk cId="1435204492" sldId="525"/>
            <ac:spMk id="9" creationId="{00000000-0000-0000-0000-000000000000}"/>
          </ac:spMkLst>
        </pc:spChg>
      </pc:sldChg>
      <pc:sldChg chg="modSp">
        <pc:chgData name="" userId="" providerId="" clId="Web-{CFB3B2CE-CD4A-4ADD-8A19-7D0C16DD647F}" dt="2020-04-24T10:09:46.045" v="1" actId="20577"/>
        <pc:sldMkLst>
          <pc:docMk/>
          <pc:sldMk cId="4264955275" sldId="551"/>
        </pc:sldMkLst>
        <pc:spChg chg="mod">
          <ac:chgData name="" userId="" providerId="" clId="Web-{CFB3B2CE-CD4A-4ADD-8A19-7D0C16DD647F}" dt="2020-04-24T10:09:46.045" v="1" actId="20577"/>
          <ac:spMkLst>
            <pc:docMk/>
            <pc:sldMk cId="4264955275" sldId="551"/>
            <ac:spMk id="9" creationId="{00000000-0000-0000-0000-000000000000}"/>
          </ac:spMkLst>
        </pc:spChg>
      </pc:sldChg>
      <pc:sldChg chg="modSp">
        <pc:chgData name="" userId="" providerId="" clId="Web-{CFB3B2CE-CD4A-4ADD-8A19-7D0C16DD647F}" dt="2020-04-24T10:10:12.217" v="7" actId="20577"/>
        <pc:sldMkLst>
          <pc:docMk/>
          <pc:sldMk cId="2417815735" sldId="564"/>
        </pc:sldMkLst>
        <pc:spChg chg="mod">
          <ac:chgData name="" userId="" providerId="" clId="Web-{CFB3B2CE-CD4A-4ADD-8A19-7D0C16DD647F}" dt="2020-04-24T10:10:12.217" v="7" actId="20577"/>
          <ac:spMkLst>
            <pc:docMk/>
            <pc:sldMk cId="2417815735" sldId="564"/>
            <ac:spMk id="9" creationId="{00000000-0000-0000-0000-000000000000}"/>
          </ac:spMkLst>
        </pc:spChg>
      </pc:sldChg>
      <pc:sldChg chg="modSp">
        <pc:chgData name="" userId="" providerId="" clId="Web-{CFB3B2CE-CD4A-4ADD-8A19-7D0C16DD647F}" dt="2020-04-24T10:00:08.605" v="0" actId="20577"/>
        <pc:sldMkLst>
          <pc:docMk/>
          <pc:sldMk cId="69631048" sldId="569"/>
        </pc:sldMkLst>
        <pc:spChg chg="mod">
          <ac:chgData name="" userId="" providerId="" clId="Web-{CFB3B2CE-CD4A-4ADD-8A19-7D0C16DD647F}" dt="2020-04-24T10:00:08.605" v="0" actId="20577"/>
          <ac:spMkLst>
            <pc:docMk/>
            <pc:sldMk cId="69631048" sldId="569"/>
            <ac:spMk id="10" creationId="{00000000-0000-0000-0000-000000000000}"/>
          </ac:spMkLst>
        </pc:spChg>
      </pc:sldChg>
      <pc:sldChg chg="modSp">
        <pc:chgData name="" userId="" providerId="" clId="Web-{CFB3B2CE-CD4A-4ADD-8A19-7D0C16DD647F}" dt="2020-04-24T10:15:26.312" v="12" actId="20577"/>
        <pc:sldMkLst>
          <pc:docMk/>
          <pc:sldMk cId="2748311853" sldId="584"/>
        </pc:sldMkLst>
        <pc:spChg chg="mod">
          <ac:chgData name="" userId="" providerId="" clId="Web-{CFB3B2CE-CD4A-4ADD-8A19-7D0C16DD647F}" dt="2020-04-24T10:15:26.312" v="12" actId="20577"/>
          <ac:spMkLst>
            <pc:docMk/>
            <pc:sldMk cId="2748311853" sldId="584"/>
            <ac:spMk id="10" creationId="{00000000-0000-0000-0000-000000000000}"/>
          </ac:spMkLst>
        </pc:spChg>
      </pc:sldChg>
    </pc:docChg>
  </pc:docChgLst>
  <pc:docChgLst>
    <pc:chgData clId="Web-{406F115D-AEE0-4295-A67A-7D65432D8B3D}"/>
    <pc:docChg chg="modSld">
      <pc:chgData name="" userId="" providerId="" clId="Web-{406F115D-AEE0-4295-A67A-7D65432D8B3D}" dt="2020-04-06T10:12:31.811" v="14" actId="20577"/>
      <pc:docMkLst>
        <pc:docMk/>
      </pc:docMkLst>
      <pc:sldChg chg="modSp">
        <pc:chgData name="" userId="" providerId="" clId="Web-{406F115D-AEE0-4295-A67A-7D65432D8B3D}" dt="2020-04-06T10:12:31.811" v="13" actId="20577"/>
        <pc:sldMkLst>
          <pc:docMk/>
          <pc:sldMk cId="1767741333" sldId="350"/>
        </pc:sldMkLst>
        <pc:spChg chg="mod">
          <ac:chgData name="" userId="" providerId="" clId="Web-{406F115D-AEE0-4295-A67A-7D65432D8B3D}" dt="2020-04-06T10:12:31.811" v="13" actId="20577"/>
          <ac:spMkLst>
            <pc:docMk/>
            <pc:sldMk cId="1767741333" sldId="350"/>
            <ac:spMk id="7" creationId="{7D8A3445-12E1-BA42-89F6-72553F73856C}"/>
          </ac:spMkLst>
        </pc:spChg>
      </pc:sldChg>
      <pc:sldChg chg="modSp">
        <pc:chgData name="" userId="" providerId="" clId="Web-{406F115D-AEE0-4295-A67A-7D65432D8B3D}" dt="2020-04-06T10:11:40.951" v="12" actId="20577"/>
        <pc:sldMkLst>
          <pc:docMk/>
          <pc:sldMk cId="2474180977" sldId="563"/>
        </pc:sldMkLst>
        <pc:spChg chg="mod">
          <ac:chgData name="" userId="" providerId="" clId="Web-{406F115D-AEE0-4295-A67A-7D65432D8B3D}" dt="2020-04-06T10:11:40.951" v="12" actId="20577"/>
          <ac:spMkLst>
            <pc:docMk/>
            <pc:sldMk cId="2474180977" sldId="563"/>
            <ac:spMk id="5" creationId="{00000000-0000-0000-0000-000000000000}"/>
          </ac:spMkLst>
        </pc:spChg>
      </pc:sldChg>
    </pc:docChg>
  </pc:docChgLst>
  <pc:docChgLst>
    <pc:chgData clId="Web-{EAB816AE-BD92-4E4F-926D-AAB051894249}"/>
    <pc:docChg chg="modSld">
      <pc:chgData name="" userId="" providerId="" clId="Web-{EAB816AE-BD92-4E4F-926D-AAB051894249}" dt="2020-04-15T10:35:22.868" v="40" actId="20577"/>
      <pc:docMkLst>
        <pc:docMk/>
      </pc:docMkLst>
      <pc:sldChg chg="modSp">
        <pc:chgData name="" userId="" providerId="" clId="Web-{EAB816AE-BD92-4E4F-926D-AAB051894249}" dt="2020-04-15T10:29:23.092" v="7" actId="20577"/>
        <pc:sldMkLst>
          <pc:docMk/>
          <pc:sldMk cId="291025221" sldId="531"/>
        </pc:sldMkLst>
        <pc:spChg chg="mod">
          <ac:chgData name="" userId="" providerId="" clId="Web-{EAB816AE-BD92-4E4F-926D-AAB051894249}" dt="2020-04-15T10:29:23.092" v="7" actId="20577"/>
          <ac:spMkLst>
            <pc:docMk/>
            <pc:sldMk cId="291025221" sldId="531"/>
            <ac:spMk id="5" creationId="{00000000-0000-0000-0000-000000000000}"/>
          </ac:spMkLst>
        </pc:spChg>
      </pc:sldChg>
      <pc:sldChg chg="modSp">
        <pc:chgData name="" userId="" providerId="" clId="Web-{EAB816AE-BD92-4E4F-926D-AAB051894249}" dt="2020-04-15T10:29:14.029" v="4" actId="20577"/>
        <pc:sldMkLst>
          <pc:docMk/>
          <pc:sldMk cId="4003898397" sldId="574"/>
        </pc:sldMkLst>
        <pc:spChg chg="mod">
          <ac:chgData name="" userId="" providerId="" clId="Web-{EAB816AE-BD92-4E4F-926D-AAB051894249}" dt="2020-04-15T10:29:14.029" v="4" actId="20577"/>
          <ac:spMkLst>
            <pc:docMk/>
            <pc:sldMk cId="4003898397" sldId="574"/>
            <ac:spMk id="5" creationId="{00000000-0000-0000-0000-000000000000}"/>
          </ac:spMkLst>
        </pc:spChg>
      </pc:sldChg>
      <pc:sldChg chg="modSp">
        <pc:chgData name="" userId="" providerId="" clId="Web-{EAB816AE-BD92-4E4F-926D-AAB051894249}" dt="2020-04-15T10:35:22.868" v="40" actId="20577"/>
        <pc:sldMkLst>
          <pc:docMk/>
          <pc:sldMk cId="2596171413" sldId="587"/>
        </pc:sldMkLst>
        <pc:spChg chg="mod">
          <ac:chgData name="" userId="" providerId="" clId="Web-{EAB816AE-BD92-4E4F-926D-AAB051894249}" dt="2020-04-15T10:35:22.868" v="40" actId="20577"/>
          <ac:spMkLst>
            <pc:docMk/>
            <pc:sldMk cId="2596171413" sldId="587"/>
            <ac:spMk id="8" creationId="{00000000-0000-0000-0000-000000000000}"/>
          </ac:spMkLst>
        </pc:spChg>
        <pc:spChg chg="mod">
          <ac:chgData name="" userId="" providerId="" clId="Web-{EAB816AE-BD92-4E4F-926D-AAB051894249}" dt="2020-04-15T10:33:06.496" v="28" actId="20577"/>
          <ac:spMkLst>
            <pc:docMk/>
            <pc:sldMk cId="2596171413" sldId="587"/>
            <ac:spMk id="11" creationId="{00000000-0000-0000-0000-000000000000}"/>
          </ac:spMkLst>
        </pc:spChg>
      </pc:sldChg>
    </pc:docChg>
  </pc:docChgLst>
  <pc:docChgLst>
    <pc:chgData clId="Web-{907BF4AC-CA3B-44BC-B5BD-D1C8C0A2BB92}"/>
    <pc:docChg chg="modSld">
      <pc:chgData name="" userId="" providerId="" clId="Web-{907BF4AC-CA3B-44BC-B5BD-D1C8C0A2BB92}" dt="2020-04-06T20:06:05.597" v="354" actId="20577"/>
      <pc:docMkLst>
        <pc:docMk/>
      </pc:docMkLst>
      <pc:sldChg chg="modSp delCm">
        <pc:chgData name="" userId="" providerId="" clId="Web-{907BF4AC-CA3B-44BC-B5BD-D1C8C0A2BB92}" dt="2020-04-06T20:06:05.597" v="354" actId="20577"/>
        <pc:sldMkLst>
          <pc:docMk/>
          <pc:sldMk cId="1445631664" sldId="578"/>
        </pc:sldMkLst>
        <pc:spChg chg="mod">
          <ac:chgData name="" userId="" providerId="" clId="Web-{907BF4AC-CA3B-44BC-B5BD-D1C8C0A2BB92}" dt="2020-04-06T19:58:05.439" v="310" actId="20577"/>
          <ac:spMkLst>
            <pc:docMk/>
            <pc:sldMk cId="1445631664" sldId="578"/>
            <ac:spMk id="8" creationId="{00000000-0000-0000-0000-000000000000}"/>
          </ac:spMkLst>
        </pc:spChg>
        <pc:spChg chg="mod">
          <ac:chgData name="" userId="" providerId="" clId="Web-{907BF4AC-CA3B-44BC-B5BD-D1C8C0A2BB92}" dt="2020-04-06T20:02:06.643" v="341" actId="20577"/>
          <ac:spMkLst>
            <pc:docMk/>
            <pc:sldMk cId="1445631664" sldId="578"/>
            <ac:spMk id="10" creationId="{00000000-0000-0000-0000-000000000000}"/>
          </ac:spMkLst>
        </pc:spChg>
        <pc:spChg chg="mod">
          <ac:chgData name="" userId="" providerId="" clId="Web-{907BF4AC-CA3B-44BC-B5BD-D1C8C0A2BB92}" dt="2020-04-06T19:57:27.517" v="307" actId="20577"/>
          <ac:spMkLst>
            <pc:docMk/>
            <pc:sldMk cId="1445631664" sldId="578"/>
            <ac:spMk id="11" creationId="{00000000-0000-0000-0000-000000000000}"/>
          </ac:spMkLst>
        </pc:spChg>
        <pc:spChg chg="mod">
          <ac:chgData name="" userId="" providerId="" clId="Web-{907BF4AC-CA3B-44BC-B5BD-D1C8C0A2BB92}" dt="2020-04-06T20:06:05.597" v="354" actId="20577"/>
          <ac:spMkLst>
            <pc:docMk/>
            <pc:sldMk cId="1445631664" sldId="578"/>
            <ac:spMk id="12" creationId="{00000000-0000-0000-0000-000000000000}"/>
          </ac:spMkLst>
        </pc:spChg>
      </pc:sldChg>
    </pc:docChg>
  </pc:docChgLst>
  <pc:docChgLst>
    <pc:chgData clId="Web-{37218750-2F94-4AD5-B874-BE289B041EEE}"/>
    <pc:docChg chg="modSld">
      <pc:chgData name="" userId="" providerId="" clId="Web-{37218750-2F94-4AD5-B874-BE289B041EEE}" dt="2020-04-06T22:07:43.955" v="178" actId="20577"/>
      <pc:docMkLst>
        <pc:docMk/>
      </pc:docMkLst>
      <pc:sldChg chg="modSp">
        <pc:chgData name="" userId="" providerId="" clId="Web-{37218750-2F94-4AD5-B874-BE289B041EEE}" dt="2020-04-06T21:58:44.394" v="100" actId="20577"/>
        <pc:sldMkLst>
          <pc:docMk/>
          <pc:sldMk cId="166306973" sldId="439"/>
        </pc:sldMkLst>
        <pc:spChg chg="mod">
          <ac:chgData name="" userId="" providerId="" clId="Web-{37218750-2F94-4AD5-B874-BE289B041EEE}" dt="2020-04-06T21:58:44.394" v="100" actId="20577"/>
          <ac:spMkLst>
            <pc:docMk/>
            <pc:sldMk cId="166306973" sldId="439"/>
            <ac:spMk id="9" creationId="{00000000-0000-0000-0000-000000000000}"/>
          </ac:spMkLst>
        </pc:spChg>
      </pc:sldChg>
      <pc:sldChg chg="modSp">
        <pc:chgData name="" userId="" providerId="" clId="Web-{37218750-2F94-4AD5-B874-BE289B041EEE}" dt="2020-04-06T22:06:20.843" v="164" actId="20577"/>
        <pc:sldMkLst>
          <pc:docMk/>
          <pc:sldMk cId="340428599" sldId="456"/>
        </pc:sldMkLst>
        <pc:spChg chg="mod">
          <ac:chgData name="" userId="" providerId="" clId="Web-{37218750-2F94-4AD5-B874-BE289B041EEE}" dt="2020-04-06T22:06:20.843" v="164" actId="20577"/>
          <ac:spMkLst>
            <pc:docMk/>
            <pc:sldMk cId="340428599" sldId="456"/>
            <ac:spMk id="15" creationId="{00000000-0000-0000-0000-000000000000}"/>
          </ac:spMkLst>
        </pc:spChg>
      </pc:sldChg>
      <pc:sldChg chg="modSp">
        <pc:chgData name="" userId="" providerId="" clId="Web-{37218750-2F94-4AD5-B874-BE289B041EEE}" dt="2020-04-06T22:07:43.955" v="178" actId="20577"/>
        <pc:sldMkLst>
          <pc:docMk/>
          <pc:sldMk cId="4286507068" sldId="480"/>
        </pc:sldMkLst>
        <pc:spChg chg="mod">
          <ac:chgData name="" userId="" providerId="" clId="Web-{37218750-2F94-4AD5-B874-BE289B041EEE}" dt="2020-04-06T22:07:43.955" v="178" actId="20577"/>
          <ac:spMkLst>
            <pc:docMk/>
            <pc:sldMk cId="4286507068" sldId="480"/>
            <ac:spMk id="3" creationId="{00000000-0000-0000-0000-000000000000}"/>
          </ac:spMkLst>
        </pc:spChg>
      </pc:sldChg>
      <pc:sldChg chg="modSp">
        <pc:chgData name="" userId="" providerId="" clId="Web-{37218750-2F94-4AD5-B874-BE289B041EEE}" dt="2020-04-06T22:01:24.553" v="132" actId="20577"/>
        <pc:sldMkLst>
          <pc:docMk/>
          <pc:sldMk cId="3064519310" sldId="489"/>
        </pc:sldMkLst>
        <pc:spChg chg="mod">
          <ac:chgData name="" userId="" providerId="" clId="Web-{37218750-2F94-4AD5-B874-BE289B041EEE}" dt="2020-04-06T22:01:24.553" v="132" actId="20577"/>
          <ac:spMkLst>
            <pc:docMk/>
            <pc:sldMk cId="3064519310" sldId="489"/>
            <ac:spMk id="9" creationId="{00000000-0000-0000-0000-000000000000}"/>
          </ac:spMkLst>
        </pc:spChg>
      </pc:sldChg>
      <pc:sldChg chg="modSp">
        <pc:chgData name="" userId="" providerId="" clId="Web-{37218750-2F94-4AD5-B874-BE289B041EEE}" dt="2020-04-06T22:04:33.418" v="159" actId="20577"/>
        <pc:sldMkLst>
          <pc:docMk/>
          <pc:sldMk cId="4195420532" sldId="490"/>
        </pc:sldMkLst>
        <pc:spChg chg="mod">
          <ac:chgData name="" userId="" providerId="" clId="Web-{37218750-2F94-4AD5-B874-BE289B041EEE}" dt="2020-04-06T22:04:33.418" v="159" actId="20577"/>
          <ac:spMkLst>
            <pc:docMk/>
            <pc:sldMk cId="4195420532" sldId="490"/>
            <ac:spMk id="9" creationId="{00000000-0000-0000-0000-000000000000}"/>
          </ac:spMkLst>
        </pc:spChg>
      </pc:sldChg>
      <pc:sldChg chg="modSp">
        <pc:chgData name="" userId="" providerId="" clId="Web-{37218750-2F94-4AD5-B874-BE289B041EEE}" dt="2020-04-06T21:49:06.314" v="20" actId="20577"/>
        <pc:sldMkLst>
          <pc:docMk/>
          <pc:sldMk cId="1504747120" sldId="522"/>
        </pc:sldMkLst>
        <pc:spChg chg="mod">
          <ac:chgData name="" userId="" providerId="" clId="Web-{37218750-2F94-4AD5-B874-BE289B041EEE}" dt="2020-04-06T21:49:06.314" v="20" actId="20577"/>
          <ac:spMkLst>
            <pc:docMk/>
            <pc:sldMk cId="1504747120" sldId="522"/>
            <ac:spMk id="9" creationId="{00000000-0000-0000-0000-000000000000}"/>
          </ac:spMkLst>
        </pc:spChg>
      </pc:sldChg>
      <pc:sldChg chg="modSp">
        <pc:chgData name="" userId="" providerId="" clId="Web-{37218750-2F94-4AD5-B874-BE289B041EEE}" dt="2020-04-06T21:50:06.784" v="22" actId="20577"/>
        <pc:sldMkLst>
          <pc:docMk/>
          <pc:sldMk cId="2535216117" sldId="523"/>
        </pc:sldMkLst>
        <pc:spChg chg="mod">
          <ac:chgData name="" userId="" providerId="" clId="Web-{37218750-2F94-4AD5-B874-BE289B041EEE}" dt="2020-04-06T21:50:06.784" v="22" actId="20577"/>
          <ac:spMkLst>
            <pc:docMk/>
            <pc:sldMk cId="2535216117" sldId="523"/>
            <ac:spMk id="9" creationId="{00000000-0000-0000-0000-000000000000}"/>
          </ac:spMkLst>
        </pc:spChg>
      </pc:sldChg>
      <pc:sldChg chg="modSp">
        <pc:chgData name="" userId="" providerId="" clId="Web-{37218750-2F94-4AD5-B874-BE289B041EEE}" dt="2020-04-06T21:50:55.098" v="31" actId="20577"/>
        <pc:sldMkLst>
          <pc:docMk/>
          <pc:sldMk cId="4231793924" sldId="540"/>
        </pc:sldMkLst>
        <pc:spChg chg="mod">
          <ac:chgData name="" userId="" providerId="" clId="Web-{37218750-2F94-4AD5-B874-BE289B041EEE}" dt="2020-04-06T21:50:55.098" v="31" actId="20577"/>
          <ac:spMkLst>
            <pc:docMk/>
            <pc:sldMk cId="4231793924" sldId="540"/>
            <ac:spMk id="9" creationId="{00000000-0000-0000-0000-000000000000}"/>
          </ac:spMkLst>
        </pc:spChg>
      </pc:sldChg>
      <pc:sldChg chg="modSp">
        <pc:chgData name="" userId="" providerId="" clId="Web-{37218750-2F94-4AD5-B874-BE289B041EEE}" dt="2020-04-06T22:01:04.350" v="130" actId="20577"/>
        <pc:sldMkLst>
          <pc:docMk/>
          <pc:sldMk cId="4161929214" sldId="547"/>
        </pc:sldMkLst>
        <pc:spChg chg="mod">
          <ac:chgData name="" userId="" providerId="" clId="Web-{37218750-2F94-4AD5-B874-BE289B041EEE}" dt="2020-04-06T22:01:04.350" v="130" actId="20577"/>
          <ac:spMkLst>
            <pc:docMk/>
            <pc:sldMk cId="4161929214" sldId="547"/>
            <ac:spMk id="3" creationId="{00000000-0000-0000-0000-000000000000}"/>
          </ac:spMkLst>
        </pc:spChg>
        <pc:spChg chg="mod">
          <ac:chgData name="" userId="" providerId="" clId="Web-{37218750-2F94-4AD5-B874-BE289B041EEE}" dt="2020-04-06T22:00:21.130" v="123" actId="20577"/>
          <ac:spMkLst>
            <pc:docMk/>
            <pc:sldMk cId="4161929214" sldId="547"/>
            <ac:spMk id="9" creationId="{00000000-0000-0000-0000-000000000000}"/>
          </ac:spMkLst>
        </pc:spChg>
      </pc:sldChg>
      <pc:sldChg chg="modSp">
        <pc:chgData name="" userId="" providerId="" clId="Web-{37218750-2F94-4AD5-B874-BE289B041EEE}" dt="2020-04-06T21:46:59.279" v="2" actId="20577"/>
        <pc:sldMkLst>
          <pc:docMk/>
          <pc:sldMk cId="3901336420" sldId="550"/>
        </pc:sldMkLst>
        <pc:spChg chg="mod">
          <ac:chgData name="" userId="" providerId="" clId="Web-{37218750-2F94-4AD5-B874-BE289B041EEE}" dt="2020-04-06T21:46:59.279" v="2" actId="20577"/>
          <ac:spMkLst>
            <pc:docMk/>
            <pc:sldMk cId="3901336420" sldId="550"/>
            <ac:spMk id="9" creationId="{00000000-0000-0000-0000-000000000000}"/>
          </ac:spMkLst>
        </pc:spChg>
      </pc:sldChg>
      <pc:sldChg chg="modSp">
        <pc:chgData name="" userId="" providerId="" clId="Web-{37218750-2F94-4AD5-B874-BE289B041EEE}" dt="2020-04-06T21:55:03.214" v="75" actId="20577"/>
        <pc:sldMkLst>
          <pc:docMk/>
          <pc:sldMk cId="4264955275" sldId="551"/>
        </pc:sldMkLst>
        <pc:spChg chg="mod">
          <ac:chgData name="" userId="" providerId="" clId="Web-{37218750-2F94-4AD5-B874-BE289B041EEE}" dt="2020-04-06T21:53:05.524" v="47" actId="20577"/>
          <ac:spMkLst>
            <pc:docMk/>
            <pc:sldMk cId="4264955275" sldId="551"/>
            <ac:spMk id="3" creationId="{00000000-0000-0000-0000-000000000000}"/>
          </ac:spMkLst>
        </pc:spChg>
        <pc:spChg chg="mod">
          <ac:chgData name="" userId="" providerId="" clId="Web-{37218750-2F94-4AD5-B874-BE289B041EEE}" dt="2020-04-06T21:55:03.214" v="75" actId="20577"/>
          <ac:spMkLst>
            <pc:docMk/>
            <pc:sldMk cId="4264955275" sldId="551"/>
            <ac:spMk id="9" creationId="{00000000-0000-0000-0000-000000000000}"/>
          </ac:spMkLst>
        </pc:spChg>
      </pc:sldChg>
      <pc:sldChg chg="modSp">
        <pc:chgData name="" userId="" providerId="" clId="Web-{37218750-2F94-4AD5-B874-BE289B041EEE}" dt="2020-04-06T22:02:33.087" v="142" actId="20577"/>
        <pc:sldMkLst>
          <pc:docMk/>
          <pc:sldMk cId="3014070648" sldId="554"/>
        </pc:sldMkLst>
        <pc:spChg chg="mod">
          <ac:chgData name="" userId="" providerId="" clId="Web-{37218750-2F94-4AD5-B874-BE289B041EEE}" dt="2020-04-06T22:02:33.087" v="142" actId="20577"/>
          <ac:spMkLst>
            <pc:docMk/>
            <pc:sldMk cId="3014070648" sldId="554"/>
            <ac:spMk id="9" creationId="{00000000-0000-0000-0000-000000000000}"/>
          </ac:spMkLst>
        </pc:spChg>
      </pc:sldChg>
      <pc:sldChg chg="modSp">
        <pc:chgData name="" userId="" providerId="" clId="Web-{37218750-2F94-4AD5-B874-BE289B041EEE}" dt="2020-04-06T21:47:16.873" v="3" actId="20577"/>
        <pc:sldMkLst>
          <pc:docMk/>
          <pc:sldMk cId="2018171156" sldId="555"/>
        </pc:sldMkLst>
        <pc:spChg chg="mod">
          <ac:chgData name="" userId="" providerId="" clId="Web-{37218750-2F94-4AD5-B874-BE289B041EEE}" dt="2020-04-06T21:47:16.873" v="3" actId="20577"/>
          <ac:spMkLst>
            <pc:docMk/>
            <pc:sldMk cId="2018171156" sldId="555"/>
            <ac:spMk id="9" creationId="{00000000-0000-0000-0000-000000000000}"/>
          </ac:spMkLst>
        </pc:spChg>
      </pc:sldChg>
      <pc:sldChg chg="modSp">
        <pc:chgData name="" userId="" providerId="" clId="Web-{37218750-2F94-4AD5-B874-BE289B041EEE}" dt="2020-04-06T21:52:38.054" v="43" actId="20577"/>
        <pc:sldMkLst>
          <pc:docMk/>
          <pc:sldMk cId="2666712792" sldId="560"/>
        </pc:sldMkLst>
        <pc:spChg chg="mod">
          <ac:chgData name="" userId="" providerId="" clId="Web-{37218750-2F94-4AD5-B874-BE289B041EEE}" dt="2020-04-06T21:52:38.054" v="43" actId="20577"/>
          <ac:spMkLst>
            <pc:docMk/>
            <pc:sldMk cId="2666712792" sldId="560"/>
            <ac:spMk id="9" creationId="{00000000-0000-0000-0000-000000000000}"/>
          </ac:spMkLst>
        </pc:spChg>
      </pc:sldChg>
      <pc:sldChg chg="modSp">
        <pc:chgData name="" userId="" providerId="" clId="Web-{37218750-2F94-4AD5-B874-BE289B041EEE}" dt="2020-04-06T21:48:13.343" v="11" actId="20577"/>
        <pc:sldMkLst>
          <pc:docMk/>
          <pc:sldMk cId="819376971" sldId="570"/>
        </pc:sldMkLst>
        <pc:spChg chg="mod">
          <ac:chgData name="" userId="" providerId="" clId="Web-{37218750-2F94-4AD5-B874-BE289B041EEE}" dt="2020-04-06T21:48:13.343" v="11" actId="20577"/>
          <ac:spMkLst>
            <pc:docMk/>
            <pc:sldMk cId="819376971" sldId="570"/>
            <ac:spMk id="9" creationId="{00000000-0000-0000-0000-000000000000}"/>
          </ac:spMkLst>
        </pc:spChg>
      </pc:sldChg>
      <pc:sldChg chg="modSp">
        <pc:chgData name="" userId="" providerId="" clId="Web-{37218750-2F94-4AD5-B874-BE289B041EEE}" dt="2020-04-06T22:03:31.479" v="145" actId="20577"/>
        <pc:sldMkLst>
          <pc:docMk/>
          <pc:sldMk cId="3764322134" sldId="577"/>
        </pc:sldMkLst>
        <pc:spChg chg="mod">
          <ac:chgData name="" userId="" providerId="" clId="Web-{37218750-2F94-4AD5-B874-BE289B041EEE}" dt="2020-04-06T22:03:31.479" v="145" actId="20577"/>
          <ac:spMkLst>
            <pc:docMk/>
            <pc:sldMk cId="3764322134" sldId="577"/>
            <ac:spMk id="9" creationId="{00000000-0000-0000-0000-000000000000}"/>
          </ac:spMkLst>
        </pc:spChg>
      </pc:sldChg>
      <pc:sldChg chg="modSp">
        <pc:chgData name="" userId="" providerId="" clId="Web-{37218750-2F94-4AD5-B874-BE289B041EEE}" dt="2020-04-06T21:57:08.640" v="82" actId="20577"/>
        <pc:sldMkLst>
          <pc:docMk/>
          <pc:sldMk cId="210732448" sldId="585"/>
        </pc:sldMkLst>
        <pc:spChg chg="mod">
          <ac:chgData name="" userId="" providerId="" clId="Web-{37218750-2F94-4AD5-B874-BE289B041EEE}" dt="2020-04-06T21:57:08.640" v="82" actId="20577"/>
          <ac:spMkLst>
            <pc:docMk/>
            <pc:sldMk cId="210732448" sldId="585"/>
            <ac:spMk id="3" creationId="{00000000-0000-0000-0000-000000000000}"/>
          </ac:spMkLst>
        </pc:spChg>
      </pc:sldChg>
      <pc:sldChg chg="modSp">
        <pc:chgData name="" userId="" providerId="" clId="Web-{37218750-2F94-4AD5-B874-BE289B041EEE}" dt="2020-04-06T21:57:58.626" v="88" actId="20577"/>
        <pc:sldMkLst>
          <pc:docMk/>
          <pc:sldMk cId="2074660268" sldId="586"/>
        </pc:sldMkLst>
        <pc:spChg chg="mod">
          <ac:chgData name="" userId="" providerId="" clId="Web-{37218750-2F94-4AD5-B874-BE289B041EEE}" dt="2020-04-06T21:57:58.626" v="88" actId="20577"/>
          <ac:spMkLst>
            <pc:docMk/>
            <pc:sldMk cId="2074660268" sldId="586"/>
            <ac:spMk id="3" creationId="{00000000-0000-0000-0000-000000000000}"/>
          </ac:spMkLst>
        </pc:spChg>
      </pc:sldChg>
    </pc:docChg>
  </pc:docChgLst>
  <pc:docChgLst>
    <pc:chgData clId="Web-{3988C3D0-614D-419B-82D1-0F93555A42DD}"/>
    <pc:docChg chg="modSld">
      <pc:chgData name="" userId="" providerId="" clId="Web-{3988C3D0-614D-419B-82D1-0F93555A42DD}" dt="2020-04-07T12:01:31.989" v="37" actId="1076"/>
      <pc:docMkLst>
        <pc:docMk/>
      </pc:docMkLst>
      <pc:sldChg chg="modSp">
        <pc:chgData name="" userId="" providerId="" clId="Web-{3988C3D0-614D-419B-82D1-0F93555A42DD}" dt="2020-04-07T11:56:49.230" v="12" actId="20577"/>
        <pc:sldMkLst>
          <pc:docMk/>
          <pc:sldMk cId="1957650401" sldId="549"/>
        </pc:sldMkLst>
        <pc:spChg chg="mod">
          <ac:chgData name="" userId="" providerId="" clId="Web-{3988C3D0-614D-419B-82D1-0F93555A42DD}" dt="2020-04-07T11:56:49.230" v="12" actId="20577"/>
          <ac:spMkLst>
            <pc:docMk/>
            <pc:sldMk cId="1957650401" sldId="549"/>
            <ac:spMk id="3" creationId="{00000000-0000-0000-0000-000000000000}"/>
          </ac:spMkLst>
        </pc:spChg>
      </pc:sldChg>
      <pc:sldChg chg="modSp">
        <pc:chgData name="" userId="" providerId="" clId="Web-{3988C3D0-614D-419B-82D1-0F93555A42DD}" dt="2020-04-07T11:55:40.572" v="9" actId="20577"/>
        <pc:sldMkLst>
          <pc:docMk/>
          <pc:sldMk cId="4264955275" sldId="551"/>
        </pc:sldMkLst>
        <pc:spChg chg="mod">
          <ac:chgData name="" userId="" providerId="" clId="Web-{3988C3D0-614D-419B-82D1-0F93555A42DD}" dt="2020-04-07T11:55:40.572" v="9" actId="20577"/>
          <ac:spMkLst>
            <pc:docMk/>
            <pc:sldMk cId="4264955275" sldId="551"/>
            <ac:spMk id="3" creationId="{00000000-0000-0000-0000-000000000000}"/>
          </ac:spMkLst>
        </pc:spChg>
      </pc:sldChg>
      <pc:sldChg chg="modSp">
        <pc:chgData name="" userId="" providerId="" clId="Web-{3988C3D0-614D-419B-82D1-0F93555A42DD}" dt="2020-04-07T11:54:23.351" v="2" actId="20577"/>
        <pc:sldMkLst>
          <pc:docMk/>
          <pc:sldMk cId="2018171156" sldId="555"/>
        </pc:sldMkLst>
        <pc:spChg chg="mod">
          <ac:chgData name="" userId="" providerId="" clId="Web-{3988C3D0-614D-419B-82D1-0F93555A42DD}" dt="2020-04-07T11:54:23.351" v="2" actId="20577"/>
          <ac:spMkLst>
            <pc:docMk/>
            <pc:sldMk cId="2018171156" sldId="555"/>
            <ac:spMk id="5" creationId="{00000000-0000-0000-0000-000000000000}"/>
          </ac:spMkLst>
        </pc:spChg>
      </pc:sldChg>
      <pc:sldChg chg="modSp">
        <pc:chgData name="" userId="" providerId="" clId="Web-{3988C3D0-614D-419B-82D1-0F93555A42DD}" dt="2020-04-07T11:55:22.479" v="8" actId="20577"/>
        <pc:sldMkLst>
          <pc:docMk/>
          <pc:sldMk cId="2666712792" sldId="560"/>
        </pc:sldMkLst>
        <pc:spChg chg="mod">
          <ac:chgData name="" userId="" providerId="" clId="Web-{3988C3D0-614D-419B-82D1-0F93555A42DD}" dt="2020-04-07T11:55:22.479" v="8" actId="20577"/>
          <ac:spMkLst>
            <pc:docMk/>
            <pc:sldMk cId="2666712792" sldId="560"/>
            <ac:spMk id="3" creationId="{00000000-0000-0000-0000-000000000000}"/>
          </ac:spMkLst>
        </pc:spChg>
      </pc:sldChg>
      <pc:sldChg chg="modSp">
        <pc:chgData name="" userId="" providerId="" clId="Web-{3988C3D0-614D-419B-82D1-0F93555A42DD}" dt="2020-04-07T11:54:45.445" v="6" actId="20577"/>
        <pc:sldMkLst>
          <pc:docMk/>
          <pc:sldMk cId="819376971" sldId="570"/>
        </pc:sldMkLst>
        <pc:spChg chg="mod">
          <ac:chgData name="" userId="" providerId="" clId="Web-{3988C3D0-614D-419B-82D1-0F93555A42DD}" dt="2020-04-07T11:54:45.445" v="6" actId="20577"/>
          <ac:spMkLst>
            <pc:docMk/>
            <pc:sldMk cId="819376971" sldId="570"/>
            <ac:spMk id="5" creationId="{00000000-0000-0000-0000-000000000000}"/>
          </ac:spMkLst>
        </pc:spChg>
      </pc:sldChg>
      <pc:sldChg chg="modSp">
        <pc:chgData name="" userId="" providerId="" clId="Web-{3988C3D0-614D-419B-82D1-0F93555A42DD}" dt="2020-04-07T11:59:08.656" v="21"/>
        <pc:sldMkLst>
          <pc:docMk/>
          <pc:sldMk cId="210732448" sldId="585"/>
        </pc:sldMkLst>
        <pc:spChg chg="mod">
          <ac:chgData name="" userId="" providerId="" clId="Web-{3988C3D0-614D-419B-82D1-0F93555A42DD}" dt="2020-04-07T11:57:25.809" v="13" actId="20577"/>
          <ac:spMkLst>
            <pc:docMk/>
            <pc:sldMk cId="210732448" sldId="585"/>
            <ac:spMk id="3" creationId="{00000000-0000-0000-0000-000000000000}"/>
          </ac:spMkLst>
        </pc:spChg>
        <pc:picChg chg="mod">
          <ac:chgData name="" userId="" providerId="" clId="Web-{3988C3D0-614D-419B-82D1-0F93555A42DD}" dt="2020-04-07T11:59:08.656" v="21"/>
          <ac:picMkLst>
            <pc:docMk/>
            <pc:sldMk cId="210732448" sldId="585"/>
            <ac:picMk id="2" creationId="{00000000-0000-0000-0000-000000000000}"/>
          </ac:picMkLst>
        </pc:picChg>
      </pc:sldChg>
      <pc:sldChg chg="modSp">
        <pc:chgData name="" userId="" providerId="" clId="Web-{3988C3D0-614D-419B-82D1-0F93555A42DD}" dt="2020-04-07T12:01:31.989" v="37" actId="1076"/>
        <pc:sldMkLst>
          <pc:docMk/>
          <pc:sldMk cId="2074660268" sldId="586"/>
        </pc:sldMkLst>
        <pc:spChg chg="mod">
          <ac:chgData name="" userId="" providerId="" clId="Web-{3988C3D0-614D-419B-82D1-0F93555A42DD}" dt="2020-04-07T12:00:46.003" v="29" actId="20577"/>
          <ac:spMkLst>
            <pc:docMk/>
            <pc:sldMk cId="2074660268" sldId="586"/>
            <ac:spMk id="3" creationId="{00000000-0000-0000-0000-000000000000}"/>
          </ac:spMkLst>
        </pc:spChg>
        <pc:spChg chg="mod">
          <ac:chgData name="" userId="" providerId="" clId="Web-{3988C3D0-614D-419B-82D1-0F93555A42DD}" dt="2020-04-07T12:01:06.597" v="34" actId="20577"/>
          <ac:spMkLst>
            <pc:docMk/>
            <pc:sldMk cId="2074660268" sldId="586"/>
            <ac:spMk id="9" creationId="{00000000-0000-0000-0000-000000000000}"/>
          </ac:spMkLst>
        </pc:spChg>
        <pc:picChg chg="mod">
          <ac:chgData name="" userId="" providerId="" clId="Web-{3988C3D0-614D-419B-82D1-0F93555A42DD}" dt="2020-04-07T12:01:31.989" v="37" actId="1076"/>
          <ac:picMkLst>
            <pc:docMk/>
            <pc:sldMk cId="2074660268" sldId="586"/>
            <ac:picMk id="2" creationId="{00000000-0000-0000-0000-000000000000}"/>
          </ac:picMkLst>
        </pc:picChg>
      </pc:sldChg>
    </pc:docChg>
  </pc:docChgLst>
  <pc:docChgLst>
    <pc:chgData clId="Web-{85D34C6E-8AC8-4C78-9D16-DA7FC1EB5F72}"/>
    <pc:docChg chg="modSld">
      <pc:chgData name="" userId="" providerId="" clId="Web-{85D34C6E-8AC8-4C78-9D16-DA7FC1EB5F72}" dt="2020-04-06T14:15:47.942" v="183" actId="20577"/>
      <pc:docMkLst>
        <pc:docMk/>
      </pc:docMkLst>
      <pc:sldChg chg="modSp delCm">
        <pc:chgData name="" userId="" providerId="" clId="Web-{85D34C6E-8AC8-4C78-9D16-DA7FC1EB5F72}" dt="2020-04-06T14:15:47.942" v="183" actId="20577"/>
        <pc:sldMkLst>
          <pc:docMk/>
          <pc:sldMk cId="4003898397" sldId="574"/>
        </pc:sldMkLst>
        <pc:spChg chg="mod">
          <ac:chgData name="" userId="" providerId="" clId="Web-{85D34C6E-8AC8-4C78-9D16-DA7FC1EB5F72}" dt="2020-04-06T14:15:47.942" v="183" actId="20577"/>
          <ac:spMkLst>
            <pc:docMk/>
            <pc:sldMk cId="4003898397" sldId="574"/>
            <ac:spMk id="3" creationId="{00000000-0000-0000-0000-000000000000}"/>
          </ac:spMkLst>
        </pc:spChg>
        <pc:spChg chg="mod">
          <ac:chgData name="" userId="" providerId="" clId="Web-{85D34C6E-8AC8-4C78-9D16-DA7FC1EB5F72}" dt="2020-04-06T14:05:11.955" v="167" actId="20577"/>
          <ac:spMkLst>
            <pc:docMk/>
            <pc:sldMk cId="4003898397" sldId="574"/>
            <ac:spMk id="9" creationId="{00000000-0000-0000-0000-000000000000}"/>
          </ac:spMkLst>
        </pc:spChg>
        <pc:picChg chg="mod">
          <ac:chgData name="" userId="" providerId="" clId="Web-{85D34C6E-8AC8-4C78-9D16-DA7FC1EB5F72}" dt="2020-04-06T14:07:33.569" v="169"/>
          <ac:picMkLst>
            <pc:docMk/>
            <pc:sldMk cId="4003898397" sldId="574"/>
            <ac:picMk id="2" creationId="{00000000-0000-0000-0000-000000000000}"/>
          </ac:picMkLst>
        </pc:picChg>
      </pc:sldChg>
    </pc:docChg>
  </pc:docChgLst>
  <pc:docChgLst>
    <pc:chgData clId="Web-{8D7D22EC-A822-4C8A-9217-8C8734C745AF}"/>
    <pc:docChg chg="modSld">
      <pc:chgData name="" userId="" providerId="" clId="Web-{8D7D22EC-A822-4C8A-9217-8C8734C745AF}" dt="2020-05-01T16:13:42.868" v="48" actId="20577"/>
      <pc:docMkLst>
        <pc:docMk/>
      </pc:docMkLst>
      <pc:sldChg chg="modSp">
        <pc:chgData name="" userId="" providerId="" clId="Web-{8D7D22EC-A822-4C8A-9217-8C8734C745AF}" dt="2020-05-01T16:13:42.868" v="48" actId="20577"/>
        <pc:sldMkLst>
          <pc:docMk/>
          <pc:sldMk cId="291025221" sldId="531"/>
        </pc:sldMkLst>
        <pc:spChg chg="mod">
          <ac:chgData name="" userId="" providerId="" clId="Web-{8D7D22EC-A822-4C8A-9217-8C8734C745AF}" dt="2020-05-01T16:13:42.868" v="48" actId="20577"/>
          <ac:spMkLst>
            <pc:docMk/>
            <pc:sldMk cId="291025221" sldId="531"/>
            <ac:spMk id="9" creationId="{00000000-0000-0000-0000-000000000000}"/>
          </ac:spMkLst>
        </pc:spChg>
      </pc:sldChg>
    </pc:docChg>
  </pc:docChgLst>
  <pc:docChgLst>
    <pc:chgData clId="Web-{2846D9CE-EFE8-4E07-A59B-11B22B2BB004}"/>
    <pc:docChg chg="modSld">
      <pc:chgData name="" userId="" providerId="" clId="Web-{2846D9CE-EFE8-4E07-A59B-11B22B2BB004}" dt="2020-04-08T07:56:30.283" v="67" actId="20577"/>
      <pc:docMkLst>
        <pc:docMk/>
      </pc:docMkLst>
      <pc:sldChg chg="modSp">
        <pc:chgData name="" userId="" providerId="" clId="Web-{2846D9CE-EFE8-4E07-A59B-11B22B2BB004}" dt="2020-04-08T06:56:36.071" v="2" actId="20577"/>
        <pc:sldMkLst>
          <pc:docMk/>
          <pc:sldMk cId="1272481722" sldId="431"/>
        </pc:sldMkLst>
        <pc:spChg chg="mod">
          <ac:chgData name="" userId="" providerId="" clId="Web-{2846D9CE-EFE8-4E07-A59B-11B22B2BB004}" dt="2020-04-08T06:56:36.071" v="2" actId="20577"/>
          <ac:spMkLst>
            <pc:docMk/>
            <pc:sldMk cId="1272481722" sldId="431"/>
            <ac:spMk id="3" creationId="{00000000-0000-0000-0000-000000000000}"/>
          </ac:spMkLst>
        </pc:spChg>
      </pc:sldChg>
      <pc:sldChg chg="modSp">
        <pc:chgData name="" userId="" providerId="" clId="Web-{2846D9CE-EFE8-4E07-A59B-11B22B2BB004}" dt="2020-04-08T07:51:41.902" v="63" actId="20577"/>
        <pc:sldMkLst>
          <pc:docMk/>
          <pc:sldMk cId="9844061" sldId="450"/>
        </pc:sldMkLst>
        <pc:spChg chg="mod">
          <ac:chgData name="" userId="" providerId="" clId="Web-{2846D9CE-EFE8-4E07-A59B-11B22B2BB004}" dt="2020-04-08T07:51:41.902" v="63" actId="20577"/>
          <ac:spMkLst>
            <pc:docMk/>
            <pc:sldMk cId="9844061" sldId="450"/>
            <ac:spMk id="3" creationId="{00000000-0000-0000-0000-000000000000}"/>
          </ac:spMkLst>
        </pc:spChg>
      </pc:sldChg>
      <pc:sldChg chg="modSp">
        <pc:chgData name="" userId="" providerId="" clId="Web-{2846D9CE-EFE8-4E07-A59B-11B22B2BB004}" dt="2020-04-08T07:56:30.283" v="67" actId="20577"/>
        <pc:sldMkLst>
          <pc:docMk/>
          <pc:sldMk cId="2685192991" sldId="462"/>
        </pc:sldMkLst>
        <pc:spChg chg="mod">
          <ac:chgData name="" userId="" providerId="" clId="Web-{2846D9CE-EFE8-4E07-A59B-11B22B2BB004}" dt="2020-04-08T07:56:30.283" v="67" actId="20577"/>
          <ac:spMkLst>
            <pc:docMk/>
            <pc:sldMk cId="2685192991" sldId="462"/>
            <ac:spMk id="3" creationId="{00000000-0000-0000-0000-000000000000}"/>
          </ac:spMkLst>
        </pc:spChg>
      </pc:sldChg>
      <pc:sldChg chg="modSp">
        <pc:chgData name="" userId="" providerId="" clId="Web-{2846D9CE-EFE8-4E07-A59B-11B22B2BB004}" dt="2020-04-08T07:14:19.335" v="35" actId="20577"/>
        <pc:sldMkLst>
          <pc:docMk/>
          <pc:sldMk cId="3341997725" sldId="521"/>
        </pc:sldMkLst>
        <pc:spChg chg="mod">
          <ac:chgData name="" userId="" providerId="" clId="Web-{2846D9CE-EFE8-4E07-A59B-11B22B2BB004}" dt="2020-04-08T07:14:19.335" v="35" actId="20577"/>
          <ac:spMkLst>
            <pc:docMk/>
            <pc:sldMk cId="3341997725" sldId="521"/>
            <ac:spMk id="3" creationId="{00000000-0000-0000-0000-000000000000}"/>
          </ac:spMkLst>
        </pc:spChg>
      </pc:sldChg>
      <pc:sldChg chg="modSp">
        <pc:chgData name="" userId="" providerId="" clId="Web-{2846D9CE-EFE8-4E07-A59B-11B22B2BB004}" dt="2020-04-08T07:16:09.042" v="50" actId="20577"/>
        <pc:sldMkLst>
          <pc:docMk/>
          <pc:sldMk cId="1504747120" sldId="522"/>
        </pc:sldMkLst>
        <pc:spChg chg="mod">
          <ac:chgData name="" userId="" providerId="" clId="Web-{2846D9CE-EFE8-4E07-A59B-11B22B2BB004}" dt="2020-04-08T07:16:09.042" v="50" actId="20577"/>
          <ac:spMkLst>
            <pc:docMk/>
            <pc:sldMk cId="1504747120" sldId="522"/>
            <ac:spMk id="3" creationId="{00000000-0000-0000-0000-000000000000}"/>
          </ac:spMkLst>
        </pc:spChg>
      </pc:sldChg>
      <pc:sldChg chg="modSp">
        <pc:chgData name="" userId="" providerId="" clId="Web-{2846D9CE-EFE8-4E07-A59B-11B22B2BB004}" dt="2020-04-08T07:15:23.447" v="39" actId="20577"/>
        <pc:sldMkLst>
          <pc:docMk/>
          <pc:sldMk cId="1619251204" sldId="541"/>
        </pc:sldMkLst>
        <pc:spChg chg="mod">
          <ac:chgData name="" userId="" providerId="" clId="Web-{2846D9CE-EFE8-4E07-A59B-11B22B2BB004}" dt="2020-04-08T07:15:23.447" v="39" actId="20577"/>
          <ac:spMkLst>
            <pc:docMk/>
            <pc:sldMk cId="1619251204" sldId="541"/>
            <ac:spMk id="3" creationId="{00000000-0000-0000-0000-000000000000}"/>
          </ac:spMkLst>
        </pc:spChg>
      </pc:sldChg>
      <pc:sldChg chg="modSp">
        <pc:chgData name="" userId="" providerId="" clId="Web-{2846D9CE-EFE8-4E07-A59B-11B22B2BB004}" dt="2020-04-08T07:19:20.860" v="52" actId="20577"/>
        <pc:sldMkLst>
          <pc:docMk/>
          <pc:sldMk cId="16994055" sldId="559"/>
        </pc:sldMkLst>
        <pc:spChg chg="mod">
          <ac:chgData name="" userId="" providerId="" clId="Web-{2846D9CE-EFE8-4E07-A59B-11B22B2BB004}" dt="2020-04-08T07:19:20.860" v="52" actId="20577"/>
          <ac:spMkLst>
            <pc:docMk/>
            <pc:sldMk cId="16994055" sldId="559"/>
            <ac:spMk id="9" creationId="{00000000-0000-0000-0000-000000000000}"/>
          </ac:spMkLst>
        </pc:spChg>
      </pc:sldChg>
      <pc:sldChg chg="modSp">
        <pc:chgData name="" userId="" providerId="" clId="Web-{2846D9CE-EFE8-4E07-A59B-11B22B2BB004}" dt="2020-04-08T07:25:42.511" v="54" actId="20577"/>
        <pc:sldMkLst>
          <pc:docMk/>
          <pc:sldMk cId="2417815735" sldId="564"/>
        </pc:sldMkLst>
        <pc:spChg chg="mod">
          <ac:chgData name="" userId="" providerId="" clId="Web-{2846D9CE-EFE8-4E07-A59B-11B22B2BB004}" dt="2020-04-08T07:25:42.511" v="54" actId="20577"/>
          <ac:spMkLst>
            <pc:docMk/>
            <pc:sldMk cId="2417815735" sldId="564"/>
            <ac:spMk id="9" creationId="{00000000-0000-0000-0000-000000000000}"/>
          </ac:spMkLst>
        </pc:spChg>
      </pc:sldChg>
      <pc:sldChg chg="modSp">
        <pc:chgData name="" userId="" providerId="" clId="Web-{2846D9CE-EFE8-4E07-A59B-11B22B2BB004}" dt="2020-04-08T07:02:35.565" v="30" actId="20577"/>
        <pc:sldMkLst>
          <pc:docMk/>
          <pc:sldMk cId="2394220177" sldId="573"/>
        </pc:sldMkLst>
        <pc:spChg chg="mod">
          <ac:chgData name="" userId="" providerId="" clId="Web-{2846D9CE-EFE8-4E07-A59B-11B22B2BB004}" dt="2020-04-08T07:01:54.674" v="25" actId="20577"/>
          <ac:spMkLst>
            <pc:docMk/>
            <pc:sldMk cId="2394220177" sldId="573"/>
            <ac:spMk id="3" creationId="{00000000-0000-0000-0000-000000000000}"/>
          </ac:spMkLst>
        </pc:spChg>
        <pc:spChg chg="mod">
          <ac:chgData name="" userId="" providerId="" clId="Web-{2846D9CE-EFE8-4E07-A59B-11B22B2BB004}" dt="2020-04-08T07:02:35.565" v="30" actId="20577"/>
          <ac:spMkLst>
            <pc:docMk/>
            <pc:sldMk cId="2394220177" sldId="573"/>
            <ac:spMk id="9" creationId="{00000000-0000-0000-0000-000000000000}"/>
          </ac:spMkLst>
        </pc:spChg>
      </pc:sldChg>
      <pc:sldChg chg="modSp">
        <pc:chgData name="" userId="" providerId="" clId="Web-{2846D9CE-EFE8-4E07-A59B-11B22B2BB004}" dt="2020-04-08T06:59:26.310" v="21" actId="20577"/>
        <pc:sldMkLst>
          <pc:docMk/>
          <pc:sldMk cId="1561734519" sldId="575"/>
        </pc:sldMkLst>
        <pc:spChg chg="mod">
          <ac:chgData name="" userId="" providerId="" clId="Web-{2846D9CE-EFE8-4E07-A59B-11B22B2BB004}" dt="2020-04-08T06:59:26.310" v="21" actId="20577"/>
          <ac:spMkLst>
            <pc:docMk/>
            <pc:sldMk cId="1561734519" sldId="575"/>
            <ac:spMk id="3" creationId="{00000000-0000-0000-0000-000000000000}"/>
          </ac:spMkLst>
        </pc:spChg>
      </pc:sldChg>
      <pc:sldChg chg="modSp">
        <pc:chgData name="" userId="" providerId="" clId="Web-{2846D9CE-EFE8-4E07-A59B-11B22B2BB004}" dt="2020-04-08T06:57:43.651" v="19" actId="20577"/>
        <pc:sldMkLst>
          <pc:docMk/>
          <pc:sldMk cId="2834309667" sldId="576"/>
        </pc:sldMkLst>
        <pc:spChg chg="mod">
          <ac:chgData name="" userId="" providerId="" clId="Web-{2846D9CE-EFE8-4E07-A59B-11B22B2BB004}" dt="2020-04-08T06:57:43.651" v="19" actId="20577"/>
          <ac:spMkLst>
            <pc:docMk/>
            <pc:sldMk cId="2834309667" sldId="576"/>
            <ac:spMk id="3" creationId="{00000000-0000-0000-0000-000000000000}"/>
          </ac:spMkLst>
        </pc:spChg>
      </pc:sldChg>
      <pc:sldChg chg="modSp">
        <pc:chgData name="" userId="" providerId="" clId="Web-{2846D9CE-EFE8-4E07-A59B-11B22B2BB004}" dt="2020-04-08T07:03:24.301" v="32" actId="20577"/>
        <pc:sldMkLst>
          <pc:docMk/>
          <pc:sldMk cId="872862401" sldId="581"/>
        </pc:sldMkLst>
        <pc:spChg chg="mod">
          <ac:chgData name="" userId="" providerId="" clId="Web-{2846D9CE-EFE8-4E07-A59B-11B22B2BB004}" dt="2020-04-08T07:03:24.301" v="32" actId="20577"/>
          <ac:spMkLst>
            <pc:docMk/>
            <pc:sldMk cId="872862401" sldId="581"/>
            <ac:spMk id="11" creationId="{00000000-0000-0000-0000-000000000000}"/>
          </ac:spMkLst>
        </pc:spChg>
      </pc:sldChg>
      <pc:sldChg chg="modSp">
        <pc:chgData name="" userId="" providerId="" clId="Web-{2846D9CE-EFE8-4E07-A59B-11B22B2BB004}" dt="2020-04-08T07:53:37.994" v="66" actId="20577"/>
        <pc:sldMkLst>
          <pc:docMk/>
          <pc:sldMk cId="210732448" sldId="585"/>
        </pc:sldMkLst>
        <pc:spChg chg="mod">
          <ac:chgData name="" userId="" providerId="" clId="Web-{2846D9CE-EFE8-4E07-A59B-11B22B2BB004}" dt="2020-04-08T07:53:37.994" v="66" actId="20577"/>
          <ac:spMkLst>
            <pc:docMk/>
            <pc:sldMk cId="210732448" sldId="585"/>
            <ac:spMk id="9" creationId="{00000000-0000-0000-0000-000000000000}"/>
          </ac:spMkLst>
        </pc:spChg>
      </pc:sldChg>
    </pc:docChg>
  </pc:docChgLst>
  <pc:docChgLst>
    <pc:chgData clId="Web-{5F17EBDE-EE0B-4B39-B4B6-97EF60CA4333}"/>
    <pc:docChg chg="modSld">
      <pc:chgData name="" userId="" providerId="" clId="Web-{5F17EBDE-EE0B-4B39-B4B6-97EF60CA4333}" dt="2020-04-06T09:56:24.043" v="0" actId="20577"/>
      <pc:docMkLst>
        <pc:docMk/>
      </pc:docMkLst>
      <pc:sldChg chg="modSp">
        <pc:chgData name="" userId="" providerId="" clId="Web-{5F17EBDE-EE0B-4B39-B4B6-97EF60CA4333}" dt="2020-04-06T09:56:24.043" v="0" actId="20577"/>
        <pc:sldMkLst>
          <pc:docMk/>
          <pc:sldMk cId="2474180977" sldId="563"/>
        </pc:sldMkLst>
        <pc:spChg chg="mod">
          <ac:chgData name="" userId="" providerId="" clId="Web-{5F17EBDE-EE0B-4B39-B4B6-97EF60CA4333}" dt="2020-04-06T09:56:24.043" v="0" actId="20577"/>
          <ac:spMkLst>
            <pc:docMk/>
            <pc:sldMk cId="2474180977" sldId="563"/>
            <ac:spMk id="5" creationId="{00000000-0000-0000-0000-000000000000}"/>
          </ac:spMkLst>
        </pc:spChg>
      </pc:sldChg>
    </pc:docChg>
  </pc:docChgLst>
  <pc:docChgLst>
    <pc:chgData clId="Web-{A129E867-E62D-468D-A560-A3C0F9B5B8B4}"/>
    <pc:docChg chg="modSld">
      <pc:chgData name="" userId="" providerId="" clId="Web-{A129E867-E62D-468D-A560-A3C0F9B5B8B4}" dt="2020-04-06T09:54:21.355" v="0" actId="20577"/>
      <pc:docMkLst>
        <pc:docMk/>
      </pc:docMkLst>
      <pc:sldChg chg="modSp">
        <pc:chgData name="" userId="" providerId="" clId="Web-{A129E867-E62D-468D-A560-A3C0F9B5B8B4}" dt="2020-04-06T09:54:21.355" v="0" actId="20577"/>
        <pc:sldMkLst>
          <pc:docMk/>
          <pc:sldMk cId="1389870873" sldId="562"/>
        </pc:sldMkLst>
        <pc:spChg chg="mod">
          <ac:chgData name="" userId="" providerId="" clId="Web-{A129E867-E62D-468D-A560-A3C0F9B5B8B4}" dt="2020-04-06T09:54:21.355" v="0" actId="20577"/>
          <ac:spMkLst>
            <pc:docMk/>
            <pc:sldMk cId="1389870873" sldId="562"/>
            <ac:spMk id="5" creationId="{00000000-0000-0000-0000-000000000000}"/>
          </ac:spMkLst>
        </pc:spChg>
      </pc:sldChg>
    </pc:docChg>
  </pc:docChgLst>
  <pc:docChgLst>
    <pc:chgData clId="Web-{4AC15307-AF23-4752-8C30-B41552F9CA01}"/>
    <pc:docChg chg="modSld">
      <pc:chgData name="" userId="" providerId="" clId="Web-{4AC15307-AF23-4752-8C30-B41552F9CA01}" dt="2020-04-16T12:10:37.042" v="21" actId="20577"/>
      <pc:docMkLst>
        <pc:docMk/>
      </pc:docMkLst>
      <pc:sldChg chg="modSp">
        <pc:chgData name="" userId="" providerId="" clId="Web-{4AC15307-AF23-4752-8C30-B41552F9CA01}" dt="2020-04-16T12:10:37.042" v="21" actId="20577"/>
        <pc:sldMkLst>
          <pc:docMk/>
          <pc:sldMk cId="4286507068" sldId="480"/>
        </pc:sldMkLst>
        <pc:spChg chg="mod">
          <ac:chgData name="" userId="" providerId="" clId="Web-{4AC15307-AF23-4752-8C30-B41552F9CA01}" dt="2020-04-16T12:10:37.042" v="21" actId="20577"/>
          <ac:spMkLst>
            <pc:docMk/>
            <pc:sldMk cId="4286507068" sldId="480"/>
            <ac:spMk id="5" creationId="{00000000-0000-0000-0000-000000000000}"/>
          </ac:spMkLst>
        </pc:spChg>
      </pc:sldChg>
      <pc:sldChg chg="modSp">
        <pc:chgData name="" userId="" providerId="" clId="Web-{4AC15307-AF23-4752-8C30-B41552F9CA01}" dt="2020-04-16T12:03:04.857" v="1" actId="20577"/>
        <pc:sldMkLst>
          <pc:docMk/>
          <pc:sldMk cId="1821882584" sldId="532"/>
        </pc:sldMkLst>
        <pc:spChg chg="mod">
          <ac:chgData name="" userId="" providerId="" clId="Web-{4AC15307-AF23-4752-8C30-B41552F9CA01}" dt="2020-04-16T12:03:04.857" v="1" actId="20577"/>
          <ac:spMkLst>
            <pc:docMk/>
            <pc:sldMk cId="1821882584" sldId="532"/>
            <ac:spMk id="5" creationId="{00000000-0000-0000-0000-000000000000}"/>
          </ac:spMkLst>
        </pc:spChg>
      </pc:sldChg>
      <pc:sldChg chg="modSp">
        <pc:chgData name="" userId="" providerId="" clId="Web-{4AC15307-AF23-4752-8C30-B41552F9CA01}" dt="2020-04-16T12:04:14.843" v="7" actId="20577"/>
        <pc:sldMkLst>
          <pc:docMk/>
          <pc:sldMk cId="3903391003" sldId="533"/>
        </pc:sldMkLst>
        <pc:spChg chg="mod">
          <ac:chgData name="" userId="" providerId="" clId="Web-{4AC15307-AF23-4752-8C30-B41552F9CA01}" dt="2020-04-16T12:04:14.843" v="7" actId="20577"/>
          <ac:spMkLst>
            <pc:docMk/>
            <pc:sldMk cId="3903391003" sldId="533"/>
            <ac:spMk id="5" creationId="{00000000-0000-0000-0000-000000000000}"/>
          </ac:spMkLst>
        </pc:spChg>
      </pc:sldChg>
      <pc:sldChg chg="modSp">
        <pc:chgData name="" userId="" providerId="" clId="Web-{4AC15307-AF23-4752-8C30-B41552F9CA01}" dt="2020-04-16T12:03:12.748" v="3" actId="20577"/>
        <pc:sldMkLst>
          <pc:docMk/>
          <pc:sldMk cId="4231793924" sldId="540"/>
        </pc:sldMkLst>
        <pc:spChg chg="mod">
          <ac:chgData name="" userId="" providerId="" clId="Web-{4AC15307-AF23-4752-8C30-B41552F9CA01}" dt="2020-04-16T12:03:12.748" v="3" actId="20577"/>
          <ac:spMkLst>
            <pc:docMk/>
            <pc:sldMk cId="4231793924" sldId="540"/>
            <ac:spMk id="5" creationId="{00000000-0000-0000-0000-000000000000}"/>
          </ac:spMkLst>
        </pc:spChg>
      </pc:sldChg>
      <pc:sldChg chg="modSp">
        <pc:chgData name="" userId="" providerId="" clId="Web-{4AC15307-AF23-4752-8C30-B41552F9CA01}" dt="2020-04-16T12:02:40.122" v="0" actId="20577"/>
        <pc:sldMkLst>
          <pc:docMk/>
          <pc:sldMk cId="1619251204" sldId="541"/>
        </pc:sldMkLst>
        <pc:spChg chg="mod">
          <ac:chgData name="" userId="" providerId="" clId="Web-{4AC15307-AF23-4752-8C30-B41552F9CA01}" dt="2020-04-16T12:02:40.122" v="0" actId="20577"/>
          <ac:spMkLst>
            <pc:docMk/>
            <pc:sldMk cId="1619251204" sldId="541"/>
            <ac:spMk id="5" creationId="{00000000-0000-0000-0000-000000000000}"/>
          </ac:spMkLst>
        </pc:spChg>
      </pc:sldChg>
      <pc:sldChg chg="modSp">
        <pc:chgData name="" userId="" providerId="" clId="Web-{4AC15307-AF23-4752-8C30-B41552F9CA01}" dt="2020-04-16T12:08:32.319" v="18" actId="20577"/>
        <pc:sldMkLst>
          <pc:docMk/>
          <pc:sldMk cId="4161929214" sldId="547"/>
        </pc:sldMkLst>
        <pc:spChg chg="mod">
          <ac:chgData name="" userId="" providerId="" clId="Web-{4AC15307-AF23-4752-8C30-B41552F9CA01}" dt="2020-04-16T12:08:32.319" v="18" actId="20577"/>
          <ac:spMkLst>
            <pc:docMk/>
            <pc:sldMk cId="4161929214" sldId="547"/>
            <ac:spMk id="3" creationId="{00000000-0000-0000-0000-000000000000}"/>
          </ac:spMkLst>
        </pc:spChg>
      </pc:sldChg>
      <pc:sldChg chg="modSp">
        <pc:chgData name="" userId="" providerId="" clId="Web-{4AC15307-AF23-4752-8C30-B41552F9CA01}" dt="2020-04-16T12:09:13.071" v="20" actId="20577"/>
        <pc:sldMkLst>
          <pc:docMk/>
          <pc:sldMk cId="3169981543" sldId="548"/>
        </pc:sldMkLst>
        <pc:spChg chg="mod">
          <ac:chgData name="" userId="" providerId="" clId="Web-{4AC15307-AF23-4752-8C30-B41552F9CA01}" dt="2020-04-16T12:09:13.071" v="20" actId="20577"/>
          <ac:spMkLst>
            <pc:docMk/>
            <pc:sldMk cId="3169981543" sldId="548"/>
            <ac:spMk id="3" creationId="{00000000-0000-0000-0000-000000000000}"/>
          </ac:spMkLst>
        </pc:spChg>
      </pc:sldChg>
      <pc:sldChg chg="modSp">
        <pc:chgData name="" userId="" providerId="" clId="Web-{4AC15307-AF23-4752-8C30-B41552F9CA01}" dt="2020-04-16T12:05:27.642" v="11"/>
        <pc:sldMkLst>
          <pc:docMk/>
          <pc:sldMk cId="1957650401" sldId="549"/>
        </pc:sldMkLst>
        <pc:spChg chg="mod">
          <ac:chgData name="" userId="" providerId="" clId="Web-{4AC15307-AF23-4752-8C30-B41552F9CA01}" dt="2020-04-16T12:05:27.642" v="11"/>
          <ac:spMkLst>
            <pc:docMk/>
            <pc:sldMk cId="1957650401" sldId="549"/>
            <ac:spMk id="3" creationId="{00000000-0000-0000-0000-000000000000}"/>
          </ac:spMkLst>
        </pc:spChg>
      </pc:sldChg>
      <pc:sldChg chg="modSp">
        <pc:chgData name="" userId="" providerId="" clId="Web-{4AC15307-AF23-4752-8C30-B41552F9CA01}" dt="2020-04-16T12:04:57.907" v="10" actId="20577"/>
        <pc:sldMkLst>
          <pc:docMk/>
          <pc:sldMk cId="2735601006" sldId="552"/>
        </pc:sldMkLst>
        <pc:spChg chg="mod">
          <ac:chgData name="" userId="" providerId="" clId="Web-{4AC15307-AF23-4752-8C30-B41552F9CA01}" dt="2020-04-16T12:04:57.907" v="10" actId="20577"/>
          <ac:spMkLst>
            <pc:docMk/>
            <pc:sldMk cId="2735601006" sldId="552"/>
            <ac:spMk id="3" creationId="{00000000-0000-0000-0000-000000000000}"/>
          </ac:spMkLst>
        </pc:spChg>
      </pc:sldChg>
      <pc:sldChg chg="modSp">
        <pc:chgData name="" userId="" providerId="" clId="Web-{4AC15307-AF23-4752-8C30-B41552F9CA01}" dt="2020-04-16T12:03:20.066" v="4" actId="20577"/>
        <pc:sldMkLst>
          <pc:docMk/>
          <pc:sldMk cId="1575362257" sldId="553"/>
        </pc:sldMkLst>
        <pc:spChg chg="mod">
          <ac:chgData name="" userId="" providerId="" clId="Web-{4AC15307-AF23-4752-8C30-B41552F9CA01}" dt="2020-04-16T12:03:20.066" v="4" actId="20577"/>
          <ac:spMkLst>
            <pc:docMk/>
            <pc:sldMk cId="1575362257" sldId="553"/>
            <ac:spMk id="5" creationId="{00000000-0000-0000-0000-000000000000}"/>
          </ac:spMkLst>
        </pc:spChg>
      </pc:sldChg>
      <pc:sldChg chg="modSp">
        <pc:chgData name="" userId="" providerId="" clId="Web-{4AC15307-AF23-4752-8C30-B41552F9CA01}" dt="2020-04-16T12:05:50.627" v="12" actId="20577"/>
        <pc:sldMkLst>
          <pc:docMk/>
          <pc:sldMk cId="872862401" sldId="581"/>
        </pc:sldMkLst>
        <pc:spChg chg="mod">
          <ac:chgData name="" userId="" providerId="" clId="Web-{4AC15307-AF23-4752-8C30-B41552F9CA01}" dt="2020-04-16T12:05:50.627" v="12" actId="20577"/>
          <ac:spMkLst>
            <pc:docMk/>
            <pc:sldMk cId="872862401" sldId="581"/>
            <ac:spMk id="11" creationId="{00000000-0000-0000-0000-000000000000}"/>
          </ac:spMkLst>
        </pc:spChg>
      </pc:sldChg>
      <pc:sldChg chg="modSp">
        <pc:chgData name="" userId="" providerId="" clId="Web-{4AC15307-AF23-4752-8C30-B41552F9CA01}" dt="2020-04-16T12:06:49.879" v="15" actId="20577"/>
        <pc:sldMkLst>
          <pc:docMk/>
          <pc:sldMk cId="2596171413" sldId="587"/>
        </pc:sldMkLst>
        <pc:spChg chg="mod">
          <ac:chgData name="" userId="" providerId="" clId="Web-{4AC15307-AF23-4752-8C30-B41552F9CA01}" dt="2020-04-16T12:06:49.879" v="15" actId="20577"/>
          <ac:spMkLst>
            <pc:docMk/>
            <pc:sldMk cId="2596171413" sldId="587"/>
            <ac:spMk id="10" creationId="{00000000-0000-0000-0000-000000000000}"/>
          </ac:spMkLst>
        </pc:spChg>
      </pc:sldChg>
    </pc:docChg>
  </pc:docChgLst>
  <pc:docChgLst>
    <pc:chgData clId="Web-{3B7601B9-6430-42F3-B0AF-8BB101098129}"/>
    <pc:docChg chg="modSld">
      <pc:chgData name="" userId="" providerId="" clId="Web-{3B7601B9-6430-42F3-B0AF-8BB101098129}" dt="2020-04-24T14:47:30.796" v="8" actId="20577"/>
      <pc:docMkLst>
        <pc:docMk/>
      </pc:docMkLst>
      <pc:sldChg chg="modSp">
        <pc:chgData name="" userId="" providerId="" clId="Web-{3B7601B9-6430-42F3-B0AF-8BB101098129}" dt="2020-04-24T14:47:30.796" v="8" actId="20577"/>
        <pc:sldMkLst>
          <pc:docMk/>
          <pc:sldMk cId="1047050830" sldId="420"/>
        </pc:sldMkLst>
        <pc:spChg chg="mod">
          <ac:chgData name="" userId="" providerId="" clId="Web-{3B7601B9-6430-42F3-B0AF-8BB101098129}" dt="2020-04-24T14:47:30.796" v="8" actId="20577"/>
          <ac:spMkLst>
            <pc:docMk/>
            <pc:sldMk cId="1047050830" sldId="420"/>
            <ac:spMk id="9" creationId="{00000000-0000-0000-0000-000000000000}"/>
          </ac:spMkLst>
        </pc:spChg>
      </pc:sldChg>
    </pc:docChg>
  </pc:docChgLst>
  <pc:docChgLst>
    <pc:chgData clId="Web-{950EC355-FD8C-4248-96F9-4E3933660D10}"/>
    <pc:docChg chg="modSld">
      <pc:chgData name="" userId="" providerId="" clId="Web-{950EC355-FD8C-4248-96F9-4E3933660D10}" dt="2020-04-06T09:12:18.200" v="41" actId="20577"/>
      <pc:docMkLst>
        <pc:docMk/>
      </pc:docMkLst>
      <pc:sldChg chg="modSp">
        <pc:chgData name="" userId="" providerId="" clId="Web-{950EC355-FD8C-4248-96F9-4E3933660D10}" dt="2020-04-06T09:10:49.747" v="23" actId="20577"/>
        <pc:sldMkLst>
          <pc:docMk/>
          <pc:sldMk cId="2220261670" sldId="426"/>
        </pc:sldMkLst>
        <pc:spChg chg="mod">
          <ac:chgData name="" userId="" providerId="" clId="Web-{950EC355-FD8C-4248-96F9-4E3933660D10}" dt="2020-04-06T09:10:49.747" v="23" actId="20577"/>
          <ac:spMkLst>
            <pc:docMk/>
            <pc:sldMk cId="2220261670" sldId="426"/>
            <ac:spMk id="5" creationId="{00000000-0000-0000-0000-000000000000}"/>
          </ac:spMkLst>
        </pc:spChg>
      </pc:sldChg>
      <pc:sldChg chg="modSp">
        <pc:chgData name="" userId="" providerId="" clId="Web-{950EC355-FD8C-4248-96F9-4E3933660D10}" dt="2020-04-06T09:11:32.794" v="33" actId="20577"/>
        <pc:sldMkLst>
          <pc:docMk/>
          <pc:sldMk cId="2685192991" sldId="462"/>
        </pc:sldMkLst>
        <pc:spChg chg="mod">
          <ac:chgData name="" userId="" providerId="" clId="Web-{950EC355-FD8C-4248-96F9-4E3933660D10}" dt="2020-04-06T09:11:32.794" v="33" actId="20577"/>
          <ac:spMkLst>
            <pc:docMk/>
            <pc:sldMk cId="2685192991" sldId="462"/>
            <ac:spMk id="3" creationId="{00000000-0000-0000-0000-000000000000}"/>
          </ac:spMkLst>
        </pc:spChg>
      </pc:sldChg>
      <pc:sldChg chg="modSp">
        <pc:chgData name="" userId="" providerId="" clId="Web-{950EC355-FD8C-4248-96F9-4E3933660D10}" dt="2020-04-06T09:12:18.200" v="41" actId="20577"/>
        <pc:sldMkLst>
          <pc:docMk/>
          <pc:sldMk cId="315438383" sldId="471"/>
        </pc:sldMkLst>
        <pc:spChg chg="mod">
          <ac:chgData name="" userId="" providerId="" clId="Web-{950EC355-FD8C-4248-96F9-4E3933660D10}" dt="2020-04-06T09:12:18.200" v="41" actId="20577"/>
          <ac:spMkLst>
            <pc:docMk/>
            <pc:sldMk cId="315438383" sldId="471"/>
            <ac:spMk id="3" creationId="{00000000-0000-0000-0000-000000000000}"/>
          </ac:spMkLst>
        </pc:spChg>
      </pc:sldChg>
      <pc:sldChg chg="modSp">
        <pc:chgData name="" userId="" providerId="" clId="Web-{950EC355-FD8C-4248-96F9-4E3933660D10}" dt="2020-04-06T09:11:42.841" v="36" actId="20577"/>
        <pc:sldMkLst>
          <pc:docMk/>
          <pc:sldMk cId="3064519310" sldId="489"/>
        </pc:sldMkLst>
        <pc:spChg chg="mod">
          <ac:chgData name="" userId="" providerId="" clId="Web-{950EC355-FD8C-4248-96F9-4E3933660D10}" dt="2020-04-06T09:11:42.841" v="36" actId="20577"/>
          <ac:spMkLst>
            <pc:docMk/>
            <pc:sldMk cId="3064519310" sldId="489"/>
            <ac:spMk id="3" creationId="{00000000-0000-0000-0000-000000000000}"/>
          </ac:spMkLst>
        </pc:spChg>
      </pc:sldChg>
      <pc:sldChg chg="modSp">
        <pc:chgData name="" userId="" providerId="" clId="Web-{950EC355-FD8C-4248-96F9-4E3933660D10}" dt="2020-04-06T09:12:09.794" v="40" actId="20577"/>
        <pc:sldMkLst>
          <pc:docMk/>
          <pc:sldMk cId="4195420532" sldId="490"/>
        </pc:sldMkLst>
        <pc:spChg chg="mod">
          <ac:chgData name="" userId="" providerId="" clId="Web-{950EC355-FD8C-4248-96F9-4E3933660D10}" dt="2020-04-06T09:12:09.794" v="40" actId="20577"/>
          <ac:spMkLst>
            <pc:docMk/>
            <pc:sldMk cId="4195420532" sldId="490"/>
            <ac:spMk id="3" creationId="{00000000-0000-0000-0000-000000000000}"/>
          </ac:spMkLst>
        </pc:spChg>
      </pc:sldChg>
      <pc:sldChg chg="modSp">
        <pc:chgData name="" userId="" providerId="" clId="Web-{950EC355-FD8C-4248-96F9-4E3933660D10}" dt="2020-04-06T09:10:29.653" v="20" actId="20577"/>
        <pc:sldMkLst>
          <pc:docMk/>
          <pc:sldMk cId="3148406027" sldId="528"/>
        </pc:sldMkLst>
        <pc:spChg chg="mod">
          <ac:chgData name="" userId="" providerId="" clId="Web-{950EC355-FD8C-4248-96F9-4E3933660D10}" dt="2020-04-06T09:10:29.653" v="20" actId="20577"/>
          <ac:spMkLst>
            <pc:docMk/>
            <pc:sldMk cId="3148406027" sldId="528"/>
            <ac:spMk id="3" creationId="{00000000-0000-0000-0000-000000000000}"/>
          </ac:spMkLst>
        </pc:spChg>
      </pc:sldChg>
      <pc:sldChg chg="modSp">
        <pc:chgData name="" userId="" providerId="" clId="Web-{950EC355-FD8C-4248-96F9-4E3933660D10}" dt="2020-04-06T09:11:25.637" v="32" actId="20577"/>
        <pc:sldMkLst>
          <pc:docMk/>
          <pc:sldMk cId="479632970" sldId="529"/>
        </pc:sldMkLst>
        <pc:spChg chg="mod">
          <ac:chgData name="" userId="" providerId="" clId="Web-{950EC355-FD8C-4248-96F9-4E3933660D10}" dt="2020-04-06T09:11:25.637" v="32" actId="20577"/>
          <ac:spMkLst>
            <pc:docMk/>
            <pc:sldMk cId="479632970" sldId="529"/>
            <ac:spMk id="3" creationId="{00000000-0000-0000-0000-000000000000}"/>
          </ac:spMkLst>
        </pc:spChg>
      </pc:sldChg>
      <pc:sldChg chg="modSp">
        <pc:chgData name="" userId="" providerId="" clId="Web-{950EC355-FD8C-4248-96F9-4E3933660D10}" dt="2020-04-06T09:11:36.512" v="34" actId="20577"/>
        <pc:sldMkLst>
          <pc:docMk/>
          <pc:sldMk cId="1737638578" sldId="534"/>
        </pc:sldMkLst>
        <pc:spChg chg="mod">
          <ac:chgData name="" userId="" providerId="" clId="Web-{950EC355-FD8C-4248-96F9-4E3933660D10}" dt="2020-04-06T09:11:36.512" v="34" actId="20577"/>
          <ac:spMkLst>
            <pc:docMk/>
            <pc:sldMk cId="1737638578" sldId="534"/>
            <ac:spMk id="3" creationId="{00000000-0000-0000-0000-000000000000}"/>
          </ac:spMkLst>
        </pc:spChg>
      </pc:sldChg>
      <pc:sldChg chg="modSp">
        <pc:chgData name="" userId="" providerId="" clId="Web-{950EC355-FD8C-4248-96F9-4E3933660D10}" dt="2020-04-06T09:10:05.371" v="18" actId="20577"/>
        <pc:sldMkLst>
          <pc:docMk/>
          <pc:sldMk cId="3339981559" sldId="536"/>
        </pc:sldMkLst>
        <pc:spChg chg="mod">
          <ac:chgData name="" userId="" providerId="" clId="Web-{950EC355-FD8C-4248-96F9-4E3933660D10}" dt="2020-04-06T09:10:05.371" v="18" actId="20577"/>
          <ac:spMkLst>
            <pc:docMk/>
            <pc:sldMk cId="3339981559" sldId="536"/>
            <ac:spMk id="3" creationId="{00000000-0000-0000-0000-000000000000}"/>
          </ac:spMkLst>
        </pc:spChg>
      </pc:sldChg>
      <pc:sldChg chg="modSp">
        <pc:chgData name="" userId="" providerId="" clId="Web-{950EC355-FD8C-4248-96F9-4E3933660D10}" dt="2020-04-06T09:11:20.997" v="31" actId="20577"/>
        <pc:sldMkLst>
          <pc:docMk/>
          <pc:sldMk cId="2611977730" sldId="537"/>
        </pc:sldMkLst>
        <pc:spChg chg="mod">
          <ac:chgData name="" userId="" providerId="" clId="Web-{950EC355-FD8C-4248-96F9-4E3933660D10}" dt="2020-04-06T09:11:20.997" v="31" actId="20577"/>
          <ac:spMkLst>
            <pc:docMk/>
            <pc:sldMk cId="2611977730" sldId="537"/>
            <ac:spMk id="3" creationId="{00000000-0000-0000-0000-000000000000}"/>
          </ac:spMkLst>
        </pc:spChg>
      </pc:sldChg>
      <pc:sldChg chg="modSp">
        <pc:chgData name="" userId="" providerId="" clId="Web-{950EC355-FD8C-4248-96F9-4E3933660D10}" dt="2020-04-06T09:09:12.465" v="8" actId="20577"/>
        <pc:sldMkLst>
          <pc:docMk/>
          <pc:sldMk cId="4231793924" sldId="540"/>
        </pc:sldMkLst>
        <pc:spChg chg="mod">
          <ac:chgData name="" userId="" providerId="" clId="Web-{950EC355-FD8C-4248-96F9-4E3933660D10}" dt="2020-04-06T09:09:12.465" v="8" actId="20577"/>
          <ac:spMkLst>
            <pc:docMk/>
            <pc:sldMk cId="4231793924" sldId="540"/>
            <ac:spMk id="3" creationId="{00000000-0000-0000-0000-000000000000}"/>
          </ac:spMkLst>
        </pc:spChg>
      </pc:sldChg>
      <pc:sldChg chg="modSp">
        <pc:chgData name="" userId="" providerId="" clId="Web-{950EC355-FD8C-4248-96F9-4E3933660D10}" dt="2020-04-06T09:08:59.074" v="5" actId="20577"/>
        <pc:sldMkLst>
          <pc:docMk/>
          <pc:sldMk cId="1619251204" sldId="541"/>
        </pc:sldMkLst>
        <pc:spChg chg="mod">
          <ac:chgData name="" userId="" providerId="" clId="Web-{950EC355-FD8C-4248-96F9-4E3933660D10}" dt="2020-04-06T09:08:59.074" v="5" actId="20577"/>
          <ac:spMkLst>
            <pc:docMk/>
            <pc:sldMk cId="1619251204" sldId="541"/>
            <ac:spMk id="3" creationId="{00000000-0000-0000-0000-000000000000}"/>
          </ac:spMkLst>
        </pc:spChg>
      </pc:sldChg>
      <pc:sldChg chg="modSp">
        <pc:chgData name="" userId="" providerId="" clId="Web-{950EC355-FD8C-4248-96F9-4E3933660D10}" dt="2020-04-06T09:11:56.513" v="37" actId="20577"/>
        <pc:sldMkLst>
          <pc:docMk/>
          <pc:sldMk cId="959614714" sldId="543"/>
        </pc:sldMkLst>
        <pc:spChg chg="mod">
          <ac:chgData name="" userId="" providerId="" clId="Web-{950EC355-FD8C-4248-96F9-4E3933660D10}" dt="2020-04-06T09:11:56.513" v="37" actId="20577"/>
          <ac:spMkLst>
            <pc:docMk/>
            <pc:sldMk cId="959614714" sldId="543"/>
            <ac:spMk id="3" creationId="{00000000-0000-0000-0000-000000000000}"/>
          </ac:spMkLst>
        </pc:spChg>
      </pc:sldChg>
      <pc:sldChg chg="modSp">
        <pc:chgData name="" userId="" providerId="" clId="Web-{950EC355-FD8C-4248-96F9-4E3933660D10}" dt="2020-04-06T09:11:11.481" v="30" actId="20577"/>
        <pc:sldMkLst>
          <pc:docMk/>
          <pc:sldMk cId="4161929214" sldId="547"/>
        </pc:sldMkLst>
        <pc:spChg chg="mod">
          <ac:chgData name="" userId="" providerId="" clId="Web-{950EC355-FD8C-4248-96F9-4E3933660D10}" dt="2020-04-06T09:11:11.481" v="30" actId="20577"/>
          <ac:spMkLst>
            <pc:docMk/>
            <pc:sldMk cId="4161929214" sldId="547"/>
            <ac:spMk id="5" creationId="{00000000-0000-0000-0000-000000000000}"/>
          </ac:spMkLst>
        </pc:spChg>
      </pc:sldChg>
      <pc:sldChg chg="modSp">
        <pc:chgData name="" userId="" providerId="" clId="Web-{950EC355-FD8C-4248-96F9-4E3933660D10}" dt="2020-04-06T09:08:52.824" v="3" actId="20577"/>
        <pc:sldMkLst>
          <pc:docMk/>
          <pc:sldMk cId="2018171156" sldId="555"/>
        </pc:sldMkLst>
        <pc:spChg chg="mod">
          <ac:chgData name="" userId="" providerId="" clId="Web-{950EC355-FD8C-4248-96F9-4E3933660D10}" dt="2020-04-06T09:08:52.824" v="3" actId="20577"/>
          <ac:spMkLst>
            <pc:docMk/>
            <pc:sldMk cId="2018171156" sldId="555"/>
            <ac:spMk id="3" creationId="{00000000-0000-0000-0000-000000000000}"/>
          </ac:spMkLst>
        </pc:spChg>
      </pc:sldChg>
      <pc:sldChg chg="modSp">
        <pc:chgData name="" userId="" providerId="" clId="Web-{950EC355-FD8C-4248-96F9-4E3933660D10}" dt="2020-04-06T09:09:07.762" v="7" actId="20577"/>
        <pc:sldMkLst>
          <pc:docMk/>
          <pc:sldMk cId="16994055" sldId="559"/>
        </pc:sldMkLst>
        <pc:spChg chg="mod">
          <ac:chgData name="" userId="" providerId="" clId="Web-{950EC355-FD8C-4248-96F9-4E3933660D10}" dt="2020-04-06T09:09:07.762" v="7" actId="20577"/>
          <ac:spMkLst>
            <pc:docMk/>
            <pc:sldMk cId="16994055" sldId="559"/>
            <ac:spMk id="3" creationId="{00000000-0000-0000-0000-000000000000}"/>
          </ac:spMkLst>
        </pc:spChg>
      </pc:sldChg>
      <pc:sldChg chg="modSp">
        <pc:chgData name="" userId="" providerId="" clId="Web-{950EC355-FD8C-4248-96F9-4E3933660D10}" dt="2020-04-06T09:08:44.840" v="1" actId="20577"/>
        <pc:sldMkLst>
          <pc:docMk/>
          <pc:sldMk cId="1389870873" sldId="562"/>
        </pc:sldMkLst>
        <pc:spChg chg="mod">
          <ac:chgData name="" userId="" providerId="" clId="Web-{950EC355-FD8C-4248-96F9-4E3933660D10}" dt="2020-04-06T09:08:44.840" v="1" actId="20577"/>
          <ac:spMkLst>
            <pc:docMk/>
            <pc:sldMk cId="1389870873" sldId="562"/>
            <ac:spMk id="3" creationId="{00000000-0000-0000-0000-000000000000}"/>
          </ac:spMkLst>
        </pc:spChg>
      </pc:sldChg>
      <pc:sldChg chg="modSp">
        <pc:chgData name="" userId="" providerId="" clId="Web-{950EC355-FD8C-4248-96F9-4E3933660D10}" dt="2020-04-06T09:12:04.091" v="39" actId="20577"/>
        <pc:sldMkLst>
          <pc:docMk/>
          <pc:sldMk cId="3764322134" sldId="577"/>
        </pc:sldMkLst>
        <pc:spChg chg="mod">
          <ac:chgData name="" userId="" providerId="" clId="Web-{950EC355-FD8C-4248-96F9-4E3933660D10}" dt="2020-04-06T09:12:04.091" v="39" actId="20577"/>
          <ac:spMkLst>
            <pc:docMk/>
            <pc:sldMk cId="3764322134" sldId="577"/>
            <ac:spMk id="3" creationId="{00000000-0000-0000-0000-000000000000}"/>
          </ac:spMkLst>
        </pc:spChg>
      </pc:sldChg>
    </pc:docChg>
  </pc:docChgLst>
  <pc:docChgLst>
    <pc:chgData clId="Web-{EDE2D5A8-DD6B-4710-8B92-F986544D6464}"/>
    <pc:docChg chg="addSld delSld modSld">
      <pc:chgData name="" userId="" providerId="" clId="Web-{EDE2D5A8-DD6B-4710-8B92-F986544D6464}" dt="2020-04-06T12:02:02.786" v="60" actId="20577"/>
      <pc:docMkLst>
        <pc:docMk/>
      </pc:docMkLst>
      <pc:sldChg chg="modSp">
        <pc:chgData name="" userId="" providerId="" clId="Web-{EDE2D5A8-DD6B-4710-8B92-F986544D6464}" dt="2020-04-06T11:59:16.687" v="37" actId="20577"/>
        <pc:sldMkLst>
          <pc:docMk/>
          <pc:sldMk cId="2685192991" sldId="462"/>
        </pc:sldMkLst>
        <pc:spChg chg="mod">
          <ac:chgData name="" userId="" providerId="" clId="Web-{EDE2D5A8-DD6B-4710-8B92-F986544D6464}" dt="2020-04-06T11:59:16.687" v="37" actId="20577"/>
          <ac:spMkLst>
            <pc:docMk/>
            <pc:sldMk cId="2685192991" sldId="462"/>
            <ac:spMk id="3" creationId="{00000000-0000-0000-0000-000000000000}"/>
          </ac:spMkLst>
        </pc:spChg>
      </pc:sldChg>
      <pc:sldChg chg="modSp">
        <pc:chgData name="" userId="" providerId="" clId="Web-{EDE2D5A8-DD6B-4710-8B92-F986544D6464}" dt="2020-04-06T12:00:24.501" v="45" actId="20577"/>
        <pc:sldMkLst>
          <pc:docMk/>
          <pc:sldMk cId="3056816004" sldId="467"/>
        </pc:sldMkLst>
        <pc:spChg chg="mod">
          <ac:chgData name="" userId="" providerId="" clId="Web-{EDE2D5A8-DD6B-4710-8B92-F986544D6464}" dt="2020-04-06T12:00:24.501" v="45" actId="20577"/>
          <ac:spMkLst>
            <pc:docMk/>
            <pc:sldMk cId="3056816004" sldId="467"/>
            <ac:spMk id="3" creationId="{00000000-0000-0000-0000-000000000000}"/>
          </ac:spMkLst>
        </pc:spChg>
      </pc:sldChg>
      <pc:sldChg chg="modSp">
        <pc:chgData name="" userId="" providerId="" clId="Web-{EDE2D5A8-DD6B-4710-8B92-F986544D6464}" dt="2020-04-06T12:00:39.580" v="47" actId="20577"/>
        <pc:sldMkLst>
          <pc:docMk/>
          <pc:sldMk cId="315438383" sldId="471"/>
        </pc:sldMkLst>
        <pc:spChg chg="mod">
          <ac:chgData name="" userId="" providerId="" clId="Web-{EDE2D5A8-DD6B-4710-8B92-F986544D6464}" dt="2020-04-06T12:00:39.580" v="47" actId="20577"/>
          <ac:spMkLst>
            <pc:docMk/>
            <pc:sldMk cId="315438383" sldId="471"/>
            <ac:spMk id="3" creationId="{00000000-0000-0000-0000-000000000000}"/>
          </ac:spMkLst>
        </pc:spChg>
      </pc:sldChg>
      <pc:sldChg chg="modSp">
        <pc:chgData name="" userId="" providerId="" clId="Web-{EDE2D5A8-DD6B-4710-8B92-F986544D6464}" dt="2020-04-06T12:01:13.643" v="49" actId="20577"/>
        <pc:sldMkLst>
          <pc:docMk/>
          <pc:sldMk cId="4286507068" sldId="480"/>
        </pc:sldMkLst>
        <pc:spChg chg="mod">
          <ac:chgData name="" userId="" providerId="" clId="Web-{EDE2D5A8-DD6B-4710-8B92-F986544D6464}" dt="2020-04-06T12:01:13.643" v="49" actId="20577"/>
          <ac:spMkLst>
            <pc:docMk/>
            <pc:sldMk cId="4286507068" sldId="480"/>
            <ac:spMk id="3" creationId="{00000000-0000-0000-0000-000000000000}"/>
          </ac:spMkLst>
        </pc:spChg>
      </pc:sldChg>
      <pc:sldChg chg="modSp">
        <pc:chgData name="" userId="" providerId="" clId="Web-{EDE2D5A8-DD6B-4710-8B92-F986544D6464}" dt="2020-04-06T11:54:17.069" v="3" actId="20577"/>
        <pc:sldMkLst>
          <pc:docMk/>
          <pc:sldMk cId="4058473551" sldId="527"/>
        </pc:sldMkLst>
        <pc:spChg chg="mod">
          <ac:chgData name="" userId="" providerId="" clId="Web-{EDE2D5A8-DD6B-4710-8B92-F986544D6464}" dt="2020-04-06T11:54:17.069" v="3" actId="20577"/>
          <ac:spMkLst>
            <pc:docMk/>
            <pc:sldMk cId="4058473551" sldId="527"/>
            <ac:spMk id="3" creationId="{00000000-0000-0000-0000-000000000000}"/>
          </ac:spMkLst>
        </pc:spChg>
      </pc:sldChg>
      <pc:sldChg chg="modSp">
        <pc:chgData name="" userId="" providerId="" clId="Web-{EDE2D5A8-DD6B-4710-8B92-F986544D6464}" dt="2020-04-06T11:57:45.559" v="22" actId="20577"/>
        <pc:sldMkLst>
          <pc:docMk/>
          <pc:sldMk cId="3148406027" sldId="528"/>
        </pc:sldMkLst>
        <pc:spChg chg="mod">
          <ac:chgData name="" userId="" providerId="" clId="Web-{EDE2D5A8-DD6B-4710-8B92-F986544D6464}" dt="2020-04-06T11:57:45.559" v="22" actId="20577"/>
          <ac:spMkLst>
            <pc:docMk/>
            <pc:sldMk cId="3148406027" sldId="528"/>
            <ac:spMk id="3" creationId="{00000000-0000-0000-0000-000000000000}"/>
          </ac:spMkLst>
        </pc:spChg>
      </pc:sldChg>
      <pc:sldChg chg="modSp">
        <pc:chgData name="" userId="" providerId="" clId="Web-{EDE2D5A8-DD6B-4710-8B92-F986544D6464}" dt="2020-04-06T11:59:07.202" v="35" actId="20577"/>
        <pc:sldMkLst>
          <pc:docMk/>
          <pc:sldMk cId="479632970" sldId="529"/>
        </pc:sldMkLst>
        <pc:spChg chg="mod">
          <ac:chgData name="" userId="" providerId="" clId="Web-{EDE2D5A8-DD6B-4710-8B92-F986544D6464}" dt="2020-04-06T11:59:07.202" v="35" actId="20577"/>
          <ac:spMkLst>
            <pc:docMk/>
            <pc:sldMk cId="479632970" sldId="529"/>
            <ac:spMk id="3" creationId="{00000000-0000-0000-0000-000000000000}"/>
          </ac:spMkLst>
        </pc:spChg>
      </pc:sldChg>
      <pc:sldChg chg="modSp">
        <pc:chgData name="" userId="" providerId="" clId="Web-{EDE2D5A8-DD6B-4710-8B92-F986544D6464}" dt="2020-04-06T11:58:55.702" v="32" actId="20577"/>
        <pc:sldMkLst>
          <pc:docMk/>
          <pc:sldMk cId="3068488975" sldId="530"/>
        </pc:sldMkLst>
        <pc:spChg chg="mod">
          <ac:chgData name="" userId="" providerId="" clId="Web-{EDE2D5A8-DD6B-4710-8B92-F986544D6464}" dt="2020-04-06T11:58:55.702" v="32" actId="20577"/>
          <ac:spMkLst>
            <pc:docMk/>
            <pc:sldMk cId="3068488975" sldId="530"/>
            <ac:spMk id="3" creationId="{00000000-0000-0000-0000-000000000000}"/>
          </ac:spMkLst>
        </pc:spChg>
      </pc:sldChg>
      <pc:sldChg chg="modSp">
        <pc:chgData name="" userId="" providerId="" clId="Web-{EDE2D5A8-DD6B-4710-8B92-F986544D6464}" dt="2020-04-06T12:01:42.316" v="54" actId="20577"/>
        <pc:sldMkLst>
          <pc:docMk/>
          <pc:sldMk cId="291025221" sldId="531"/>
        </pc:sldMkLst>
        <pc:spChg chg="mod">
          <ac:chgData name="" userId="" providerId="" clId="Web-{EDE2D5A8-DD6B-4710-8B92-F986544D6464}" dt="2020-04-06T11:53:57.068" v="1" actId="20577"/>
          <ac:spMkLst>
            <pc:docMk/>
            <pc:sldMk cId="291025221" sldId="531"/>
            <ac:spMk id="3" creationId="{00000000-0000-0000-0000-000000000000}"/>
          </ac:spMkLst>
        </pc:spChg>
        <pc:spChg chg="mod">
          <ac:chgData name="" userId="" providerId="" clId="Web-{EDE2D5A8-DD6B-4710-8B92-F986544D6464}" dt="2020-04-06T12:01:42.316" v="54" actId="20577"/>
          <ac:spMkLst>
            <pc:docMk/>
            <pc:sldMk cId="291025221" sldId="531"/>
            <ac:spMk id="5" creationId="{00000000-0000-0000-0000-000000000000}"/>
          </ac:spMkLst>
        </pc:spChg>
      </pc:sldChg>
      <pc:sldChg chg="modSp">
        <pc:chgData name="" userId="" providerId="" clId="Web-{EDE2D5A8-DD6B-4710-8B92-F986544D6464}" dt="2020-04-06T11:56:26.276" v="15" actId="20577"/>
        <pc:sldMkLst>
          <pc:docMk/>
          <pc:sldMk cId="1821882584" sldId="532"/>
        </pc:sldMkLst>
        <pc:spChg chg="mod">
          <ac:chgData name="" userId="" providerId="" clId="Web-{EDE2D5A8-DD6B-4710-8B92-F986544D6464}" dt="2020-04-06T11:56:26.276" v="15" actId="20577"/>
          <ac:spMkLst>
            <pc:docMk/>
            <pc:sldMk cId="1821882584" sldId="532"/>
            <ac:spMk id="3" creationId="{00000000-0000-0000-0000-000000000000}"/>
          </ac:spMkLst>
        </pc:spChg>
      </pc:sldChg>
      <pc:sldChg chg="modSp">
        <pc:chgData name="" userId="" providerId="" clId="Web-{EDE2D5A8-DD6B-4710-8B92-F986544D6464}" dt="2020-04-06T11:57:35.809" v="21" actId="20577"/>
        <pc:sldMkLst>
          <pc:docMk/>
          <pc:sldMk cId="3903391003" sldId="533"/>
        </pc:sldMkLst>
        <pc:spChg chg="mod">
          <ac:chgData name="" userId="" providerId="" clId="Web-{EDE2D5A8-DD6B-4710-8B92-F986544D6464}" dt="2020-04-06T11:57:35.809" v="21" actId="20577"/>
          <ac:spMkLst>
            <pc:docMk/>
            <pc:sldMk cId="3903391003" sldId="533"/>
            <ac:spMk id="3" creationId="{00000000-0000-0000-0000-000000000000}"/>
          </ac:spMkLst>
        </pc:spChg>
      </pc:sldChg>
      <pc:sldChg chg="modSp">
        <pc:chgData name="" userId="" providerId="" clId="Web-{EDE2D5A8-DD6B-4710-8B92-F986544D6464}" dt="2020-04-06T11:59:22.390" v="39" actId="20577"/>
        <pc:sldMkLst>
          <pc:docMk/>
          <pc:sldMk cId="1737638578" sldId="534"/>
        </pc:sldMkLst>
        <pc:spChg chg="mod">
          <ac:chgData name="" userId="" providerId="" clId="Web-{EDE2D5A8-DD6B-4710-8B92-F986544D6464}" dt="2020-04-06T11:59:22.390" v="39" actId="20577"/>
          <ac:spMkLst>
            <pc:docMk/>
            <pc:sldMk cId="1737638578" sldId="534"/>
            <ac:spMk id="3" creationId="{00000000-0000-0000-0000-000000000000}"/>
          </ac:spMkLst>
        </pc:spChg>
      </pc:sldChg>
      <pc:sldChg chg="modSp">
        <pc:chgData name="" userId="" providerId="" clId="Web-{EDE2D5A8-DD6B-4710-8B92-F986544D6464}" dt="2020-04-06T11:58:09.341" v="24" actId="20577"/>
        <pc:sldMkLst>
          <pc:docMk/>
          <pc:sldMk cId="464413559" sldId="535"/>
        </pc:sldMkLst>
        <pc:spChg chg="mod">
          <ac:chgData name="" userId="" providerId="" clId="Web-{EDE2D5A8-DD6B-4710-8B92-F986544D6464}" dt="2020-04-06T11:58:09.341" v="24" actId="20577"/>
          <ac:spMkLst>
            <pc:docMk/>
            <pc:sldMk cId="464413559" sldId="535"/>
            <ac:spMk id="3" creationId="{00000000-0000-0000-0000-000000000000}"/>
          </ac:spMkLst>
        </pc:spChg>
      </pc:sldChg>
      <pc:sldChg chg="modSp">
        <pc:chgData name="" userId="" providerId="" clId="Web-{EDE2D5A8-DD6B-4710-8B92-F986544D6464}" dt="2020-04-06T11:57:54.247" v="23" actId="20577"/>
        <pc:sldMkLst>
          <pc:docMk/>
          <pc:sldMk cId="3339981559" sldId="536"/>
        </pc:sldMkLst>
        <pc:spChg chg="mod">
          <ac:chgData name="" userId="" providerId="" clId="Web-{EDE2D5A8-DD6B-4710-8B92-F986544D6464}" dt="2020-04-06T11:57:54.247" v="23" actId="20577"/>
          <ac:spMkLst>
            <pc:docMk/>
            <pc:sldMk cId="3339981559" sldId="536"/>
            <ac:spMk id="3" creationId="{00000000-0000-0000-0000-000000000000}"/>
          </ac:spMkLst>
        </pc:spChg>
      </pc:sldChg>
      <pc:sldChg chg="modSp">
        <pc:chgData name="" userId="" providerId="" clId="Web-{EDE2D5A8-DD6B-4710-8B92-F986544D6464}" dt="2020-04-06T11:59:01.624" v="34" actId="20577"/>
        <pc:sldMkLst>
          <pc:docMk/>
          <pc:sldMk cId="2611977730" sldId="537"/>
        </pc:sldMkLst>
        <pc:spChg chg="mod">
          <ac:chgData name="" userId="" providerId="" clId="Web-{EDE2D5A8-DD6B-4710-8B92-F986544D6464}" dt="2020-04-06T11:59:01.624" v="34" actId="20577"/>
          <ac:spMkLst>
            <pc:docMk/>
            <pc:sldMk cId="2611977730" sldId="537"/>
            <ac:spMk id="3" creationId="{00000000-0000-0000-0000-000000000000}"/>
          </ac:spMkLst>
        </pc:spChg>
      </pc:sldChg>
      <pc:sldChg chg="modSp">
        <pc:chgData name="" userId="" providerId="" clId="Web-{EDE2D5A8-DD6B-4710-8B92-F986544D6464}" dt="2020-04-06T11:56:49.245" v="17" actId="20577"/>
        <pc:sldMkLst>
          <pc:docMk/>
          <pc:sldMk cId="3880060180" sldId="538"/>
        </pc:sldMkLst>
        <pc:spChg chg="mod">
          <ac:chgData name="" userId="" providerId="" clId="Web-{EDE2D5A8-DD6B-4710-8B92-F986544D6464}" dt="2020-04-06T11:56:49.245" v="17" actId="20577"/>
          <ac:spMkLst>
            <pc:docMk/>
            <pc:sldMk cId="3880060180" sldId="538"/>
            <ac:spMk id="3" creationId="{00000000-0000-0000-0000-000000000000}"/>
          </ac:spMkLst>
        </pc:spChg>
      </pc:sldChg>
      <pc:sldChg chg="modSp">
        <pc:chgData name="" userId="" providerId="" clId="Web-{EDE2D5A8-DD6B-4710-8B92-F986544D6464}" dt="2020-04-06T11:56:27.667" v="16" actId="20577"/>
        <pc:sldMkLst>
          <pc:docMk/>
          <pc:sldMk cId="4231793924" sldId="540"/>
        </pc:sldMkLst>
        <pc:spChg chg="mod">
          <ac:chgData name="" userId="" providerId="" clId="Web-{EDE2D5A8-DD6B-4710-8B92-F986544D6464}" dt="2020-04-06T11:56:27.667" v="16" actId="20577"/>
          <ac:spMkLst>
            <pc:docMk/>
            <pc:sldMk cId="4231793924" sldId="540"/>
            <ac:spMk id="3" creationId="{00000000-0000-0000-0000-000000000000}"/>
          </ac:spMkLst>
        </pc:spChg>
      </pc:sldChg>
      <pc:sldChg chg="modSp">
        <pc:chgData name="" userId="" providerId="" clId="Web-{EDE2D5A8-DD6B-4710-8B92-F986544D6464}" dt="2020-04-06T12:02:02.786" v="60" actId="20577"/>
        <pc:sldMkLst>
          <pc:docMk/>
          <pc:sldMk cId="1619251204" sldId="541"/>
        </pc:sldMkLst>
        <pc:spChg chg="mod">
          <ac:chgData name="" userId="" providerId="" clId="Web-{EDE2D5A8-DD6B-4710-8B92-F986544D6464}" dt="2020-04-06T11:56:09.916" v="13" actId="20577"/>
          <ac:spMkLst>
            <pc:docMk/>
            <pc:sldMk cId="1619251204" sldId="541"/>
            <ac:spMk id="3" creationId="{00000000-0000-0000-0000-000000000000}"/>
          </ac:spMkLst>
        </pc:spChg>
        <pc:spChg chg="mod">
          <ac:chgData name="" userId="" providerId="" clId="Web-{EDE2D5A8-DD6B-4710-8B92-F986544D6464}" dt="2020-04-06T12:02:02.786" v="60" actId="20577"/>
          <ac:spMkLst>
            <pc:docMk/>
            <pc:sldMk cId="1619251204" sldId="541"/>
            <ac:spMk id="5" creationId="{00000000-0000-0000-0000-000000000000}"/>
          </ac:spMkLst>
        </pc:spChg>
      </pc:sldChg>
      <pc:sldChg chg="modSp">
        <pc:chgData name="" userId="" providerId="" clId="Web-{EDE2D5A8-DD6B-4710-8B92-F986544D6464}" dt="2020-04-06T12:00:09.892" v="44" actId="20577"/>
        <pc:sldMkLst>
          <pc:docMk/>
          <pc:sldMk cId="3198457019" sldId="542"/>
        </pc:sldMkLst>
        <pc:spChg chg="mod">
          <ac:chgData name="" userId="" providerId="" clId="Web-{EDE2D5A8-DD6B-4710-8B92-F986544D6464}" dt="2020-04-06T12:00:09.892" v="44" actId="20577"/>
          <ac:spMkLst>
            <pc:docMk/>
            <pc:sldMk cId="3198457019" sldId="542"/>
            <ac:spMk id="3" creationId="{00000000-0000-0000-0000-000000000000}"/>
          </ac:spMkLst>
        </pc:spChg>
      </pc:sldChg>
      <pc:sldChg chg="modSp">
        <pc:chgData name="" userId="" providerId="" clId="Web-{EDE2D5A8-DD6B-4710-8B92-F986544D6464}" dt="2020-04-06T11:59:48.750" v="42" actId="20577"/>
        <pc:sldMkLst>
          <pc:docMk/>
          <pc:sldMk cId="959614714" sldId="543"/>
        </pc:sldMkLst>
        <pc:spChg chg="mod">
          <ac:chgData name="" userId="" providerId="" clId="Web-{EDE2D5A8-DD6B-4710-8B92-F986544D6464}" dt="2020-04-06T11:59:48.750" v="42" actId="20577"/>
          <ac:spMkLst>
            <pc:docMk/>
            <pc:sldMk cId="959614714" sldId="543"/>
            <ac:spMk id="3" creationId="{00000000-0000-0000-0000-000000000000}"/>
          </ac:spMkLst>
        </pc:spChg>
      </pc:sldChg>
      <pc:sldChg chg="modSp">
        <pc:chgData name="" userId="" providerId="" clId="Web-{EDE2D5A8-DD6B-4710-8B92-F986544D6464}" dt="2020-04-06T11:58:49.561" v="30" actId="20577"/>
        <pc:sldMkLst>
          <pc:docMk/>
          <pc:sldMk cId="4161929214" sldId="547"/>
        </pc:sldMkLst>
        <pc:spChg chg="mod">
          <ac:chgData name="" userId="" providerId="" clId="Web-{EDE2D5A8-DD6B-4710-8B92-F986544D6464}" dt="2020-04-06T11:58:49.561" v="30" actId="20577"/>
          <ac:spMkLst>
            <pc:docMk/>
            <pc:sldMk cId="4161929214" sldId="547"/>
            <ac:spMk id="3" creationId="{00000000-0000-0000-0000-000000000000}"/>
          </ac:spMkLst>
        </pc:spChg>
      </pc:sldChg>
      <pc:sldChg chg="modSp">
        <pc:chgData name="" userId="" providerId="" clId="Web-{EDE2D5A8-DD6B-4710-8B92-F986544D6464}" dt="2020-04-06T11:59:29.437" v="41" actId="20577"/>
        <pc:sldMkLst>
          <pc:docMk/>
          <pc:sldMk cId="3169981543" sldId="548"/>
        </pc:sldMkLst>
        <pc:spChg chg="mod">
          <ac:chgData name="" userId="" providerId="" clId="Web-{EDE2D5A8-DD6B-4710-8B92-F986544D6464}" dt="2020-04-06T11:59:29.437" v="41" actId="20577"/>
          <ac:spMkLst>
            <pc:docMk/>
            <pc:sldMk cId="3169981543" sldId="548"/>
            <ac:spMk id="3" creationId="{00000000-0000-0000-0000-000000000000}"/>
          </ac:spMkLst>
        </pc:spChg>
      </pc:sldChg>
      <pc:sldChg chg="modSp">
        <pc:chgData name="" userId="" providerId="" clId="Web-{EDE2D5A8-DD6B-4710-8B92-F986544D6464}" dt="2020-04-06T11:58:33.827" v="28" actId="20577"/>
        <pc:sldMkLst>
          <pc:docMk/>
          <pc:sldMk cId="1957650401" sldId="549"/>
        </pc:sldMkLst>
        <pc:spChg chg="mod">
          <ac:chgData name="" userId="" providerId="" clId="Web-{EDE2D5A8-DD6B-4710-8B92-F986544D6464}" dt="2020-04-06T11:58:33.827" v="28" actId="20577"/>
          <ac:spMkLst>
            <pc:docMk/>
            <pc:sldMk cId="1957650401" sldId="549"/>
            <ac:spMk id="3" creationId="{00000000-0000-0000-0000-000000000000}"/>
          </ac:spMkLst>
        </pc:spChg>
      </pc:sldChg>
      <pc:sldChg chg="modSp add del">
        <pc:chgData name="" userId="" providerId="" clId="Web-{EDE2D5A8-DD6B-4710-8B92-F986544D6464}" dt="2020-04-06T11:55:56.462" v="11" actId="20577"/>
        <pc:sldMkLst>
          <pc:docMk/>
          <pc:sldMk cId="3901336420" sldId="550"/>
        </pc:sldMkLst>
        <pc:spChg chg="mod">
          <ac:chgData name="" userId="" providerId="" clId="Web-{EDE2D5A8-DD6B-4710-8B92-F986544D6464}" dt="2020-04-06T11:55:56.462" v="11" actId="20577"/>
          <ac:spMkLst>
            <pc:docMk/>
            <pc:sldMk cId="3901336420" sldId="550"/>
            <ac:spMk id="3" creationId="{00000000-0000-0000-0000-000000000000}"/>
          </ac:spMkLst>
        </pc:spChg>
      </pc:sldChg>
      <pc:sldChg chg="modSp">
        <pc:chgData name="" userId="" providerId="" clId="Web-{EDE2D5A8-DD6B-4710-8B92-F986544D6464}" dt="2020-04-06T11:57:14.340" v="20" actId="20577"/>
        <pc:sldMkLst>
          <pc:docMk/>
          <pc:sldMk cId="4264955275" sldId="551"/>
        </pc:sldMkLst>
        <pc:spChg chg="mod">
          <ac:chgData name="" userId="" providerId="" clId="Web-{EDE2D5A8-DD6B-4710-8B92-F986544D6464}" dt="2020-04-06T11:57:14.340" v="20" actId="20577"/>
          <ac:spMkLst>
            <pc:docMk/>
            <pc:sldMk cId="4264955275" sldId="551"/>
            <ac:spMk id="3" creationId="{00000000-0000-0000-0000-000000000000}"/>
          </ac:spMkLst>
        </pc:spChg>
      </pc:sldChg>
      <pc:sldChg chg="modSp">
        <pc:chgData name="" userId="" providerId="" clId="Web-{EDE2D5A8-DD6B-4710-8B92-F986544D6464}" dt="2020-04-06T11:58:25.311" v="26" actId="20577"/>
        <pc:sldMkLst>
          <pc:docMk/>
          <pc:sldMk cId="2735601006" sldId="552"/>
        </pc:sldMkLst>
        <pc:spChg chg="mod">
          <ac:chgData name="" userId="" providerId="" clId="Web-{EDE2D5A8-DD6B-4710-8B92-F986544D6464}" dt="2020-04-06T11:58:25.311" v="26" actId="20577"/>
          <ac:spMkLst>
            <pc:docMk/>
            <pc:sldMk cId="2735601006" sldId="552"/>
            <ac:spMk id="3" creationId="{00000000-0000-0000-0000-000000000000}"/>
          </ac:spMkLst>
        </pc:spChg>
      </pc:sldChg>
      <pc:sldChg chg="modSp">
        <pc:chgData name="" userId="" providerId="" clId="Web-{EDE2D5A8-DD6B-4710-8B92-F986544D6464}" dt="2020-04-06T11:56:56.293" v="18" actId="20577"/>
        <pc:sldMkLst>
          <pc:docMk/>
          <pc:sldMk cId="1575362257" sldId="553"/>
        </pc:sldMkLst>
        <pc:spChg chg="mod">
          <ac:chgData name="" userId="" providerId="" clId="Web-{EDE2D5A8-DD6B-4710-8B92-F986544D6464}" dt="2020-04-06T11:56:56.293" v="18" actId="20577"/>
          <ac:spMkLst>
            <pc:docMk/>
            <pc:sldMk cId="1575362257" sldId="553"/>
            <ac:spMk id="3" creationId="{00000000-0000-0000-0000-000000000000}"/>
          </ac:spMkLst>
        </pc:spChg>
      </pc:sldChg>
      <pc:sldChg chg="modSp">
        <pc:chgData name="" userId="" providerId="" clId="Web-{EDE2D5A8-DD6B-4710-8B92-F986544D6464}" dt="2020-04-06T12:00:00.751" v="43" actId="20577"/>
        <pc:sldMkLst>
          <pc:docMk/>
          <pc:sldMk cId="3014070648" sldId="554"/>
        </pc:sldMkLst>
        <pc:spChg chg="mod">
          <ac:chgData name="" userId="" providerId="" clId="Web-{EDE2D5A8-DD6B-4710-8B92-F986544D6464}" dt="2020-04-06T12:00:00.751" v="43" actId="20577"/>
          <ac:spMkLst>
            <pc:docMk/>
            <pc:sldMk cId="3014070648" sldId="554"/>
            <ac:spMk id="3" creationId="{00000000-0000-0000-0000-000000000000}"/>
          </ac:spMkLst>
        </pc:spChg>
      </pc:sldChg>
      <pc:sldChg chg="modSp">
        <pc:chgData name="" userId="" providerId="" clId="Web-{EDE2D5A8-DD6B-4710-8B92-F986544D6464}" dt="2020-04-06T11:57:06.355" v="19" actId="20577"/>
        <pc:sldMkLst>
          <pc:docMk/>
          <pc:sldMk cId="2666712792" sldId="560"/>
        </pc:sldMkLst>
        <pc:spChg chg="mod">
          <ac:chgData name="" userId="" providerId="" clId="Web-{EDE2D5A8-DD6B-4710-8B92-F986544D6464}" dt="2020-04-06T11:57:06.355" v="19" actId="20577"/>
          <ac:spMkLst>
            <pc:docMk/>
            <pc:sldMk cId="2666712792" sldId="560"/>
            <ac:spMk id="3" creationId="{00000000-0000-0000-0000-000000000000}"/>
          </ac:spMkLst>
        </pc:spChg>
      </pc:sldChg>
    </pc:docChg>
  </pc:docChgLst>
  <pc:docChgLst>
    <pc:chgData clId="Web-{C878DA87-F2D4-42C9-BFA0-D07802E95460}"/>
    <pc:docChg chg="modSld">
      <pc:chgData name="" userId="" providerId="" clId="Web-{C878DA87-F2D4-42C9-BFA0-D07802E95460}" dt="2020-05-01T16:07:35.068" v="75" actId="20577"/>
      <pc:docMkLst>
        <pc:docMk/>
      </pc:docMkLst>
      <pc:sldChg chg="modSp">
        <pc:chgData name="" userId="" providerId="" clId="Web-{C878DA87-F2D4-42C9-BFA0-D07802E95460}" dt="2020-05-01T16:07:35.068" v="75" actId="20577"/>
        <pc:sldMkLst>
          <pc:docMk/>
          <pc:sldMk cId="291025221" sldId="531"/>
        </pc:sldMkLst>
        <pc:spChg chg="mod">
          <ac:chgData name="" userId="" providerId="" clId="Web-{C878DA87-F2D4-42C9-BFA0-D07802E95460}" dt="2020-05-01T16:07:35.068" v="75" actId="20577"/>
          <ac:spMkLst>
            <pc:docMk/>
            <pc:sldMk cId="291025221" sldId="531"/>
            <ac:spMk id="9"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1F3A38-55E5-466B-98AE-8425F7C702C5}" type="datetimeFigureOut">
              <a:rPr lang="en-US" smtClean="0"/>
              <a:t>5/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3D1BAF-D5D5-4DD6-B447-37B8D17A80B5}" type="slidenum">
              <a:rPr lang="en-US" smtClean="0"/>
              <a:t>‹#›</a:t>
            </a:fld>
            <a:endParaRPr lang="en-US"/>
          </a:p>
        </p:txBody>
      </p:sp>
    </p:spTree>
    <p:extLst>
      <p:ext uri="{BB962C8B-B14F-4D97-AF65-F5344CB8AC3E}">
        <p14:creationId xmlns:p14="http://schemas.microsoft.com/office/powerpoint/2010/main" val="1010499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4</a:t>
            </a:fld>
            <a:endParaRPr lang="en-US"/>
          </a:p>
        </p:txBody>
      </p:sp>
    </p:spTree>
    <p:extLst>
      <p:ext uri="{BB962C8B-B14F-4D97-AF65-F5344CB8AC3E}">
        <p14:creationId xmlns:p14="http://schemas.microsoft.com/office/powerpoint/2010/main" val="1269743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31</a:t>
            </a:fld>
            <a:endParaRPr lang="en-US"/>
          </a:p>
        </p:txBody>
      </p:sp>
    </p:spTree>
    <p:extLst>
      <p:ext uri="{BB962C8B-B14F-4D97-AF65-F5344CB8AC3E}">
        <p14:creationId xmlns:p14="http://schemas.microsoft.com/office/powerpoint/2010/main" val="20932665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32</a:t>
            </a:fld>
            <a:endParaRPr lang="en-US"/>
          </a:p>
        </p:txBody>
      </p:sp>
    </p:spTree>
    <p:extLst>
      <p:ext uri="{BB962C8B-B14F-4D97-AF65-F5344CB8AC3E}">
        <p14:creationId xmlns:p14="http://schemas.microsoft.com/office/powerpoint/2010/main" val="23602655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37</a:t>
            </a:fld>
            <a:endParaRPr lang="en-US"/>
          </a:p>
        </p:txBody>
      </p:sp>
    </p:spTree>
    <p:extLst>
      <p:ext uri="{BB962C8B-B14F-4D97-AF65-F5344CB8AC3E}">
        <p14:creationId xmlns:p14="http://schemas.microsoft.com/office/powerpoint/2010/main" val="2447314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48</a:t>
            </a:fld>
            <a:endParaRPr lang="en-US"/>
          </a:p>
        </p:txBody>
      </p:sp>
    </p:spTree>
    <p:extLst>
      <p:ext uri="{BB962C8B-B14F-4D97-AF65-F5344CB8AC3E}">
        <p14:creationId xmlns:p14="http://schemas.microsoft.com/office/powerpoint/2010/main" val="758984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54</a:t>
            </a:fld>
            <a:endParaRPr lang="en-US"/>
          </a:p>
        </p:txBody>
      </p:sp>
    </p:spTree>
    <p:extLst>
      <p:ext uri="{BB962C8B-B14F-4D97-AF65-F5344CB8AC3E}">
        <p14:creationId xmlns:p14="http://schemas.microsoft.com/office/powerpoint/2010/main" val="3956098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55</a:t>
            </a:fld>
            <a:endParaRPr lang="en-US"/>
          </a:p>
        </p:txBody>
      </p:sp>
    </p:spTree>
    <p:extLst>
      <p:ext uri="{BB962C8B-B14F-4D97-AF65-F5344CB8AC3E}">
        <p14:creationId xmlns:p14="http://schemas.microsoft.com/office/powerpoint/2010/main" val="737025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69</a:t>
            </a:fld>
            <a:endParaRPr lang="en-US"/>
          </a:p>
        </p:txBody>
      </p:sp>
    </p:spTree>
    <p:extLst>
      <p:ext uri="{BB962C8B-B14F-4D97-AF65-F5344CB8AC3E}">
        <p14:creationId xmlns:p14="http://schemas.microsoft.com/office/powerpoint/2010/main" val="498576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70</a:t>
            </a:fld>
            <a:endParaRPr lang="en-US"/>
          </a:p>
        </p:txBody>
      </p:sp>
    </p:spTree>
    <p:extLst>
      <p:ext uri="{BB962C8B-B14F-4D97-AF65-F5344CB8AC3E}">
        <p14:creationId xmlns:p14="http://schemas.microsoft.com/office/powerpoint/2010/main" val="29100041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74</a:t>
            </a:fld>
            <a:endParaRPr lang="en-US"/>
          </a:p>
        </p:txBody>
      </p:sp>
    </p:spTree>
    <p:extLst>
      <p:ext uri="{BB962C8B-B14F-4D97-AF65-F5344CB8AC3E}">
        <p14:creationId xmlns:p14="http://schemas.microsoft.com/office/powerpoint/2010/main" val="855975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78</a:t>
            </a:fld>
            <a:endParaRPr lang="en-US"/>
          </a:p>
        </p:txBody>
      </p:sp>
    </p:spTree>
    <p:extLst>
      <p:ext uri="{BB962C8B-B14F-4D97-AF65-F5344CB8AC3E}">
        <p14:creationId xmlns:p14="http://schemas.microsoft.com/office/powerpoint/2010/main" val="3305594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9</a:t>
            </a:fld>
            <a:endParaRPr lang="en-US"/>
          </a:p>
        </p:txBody>
      </p:sp>
    </p:spTree>
    <p:extLst>
      <p:ext uri="{BB962C8B-B14F-4D97-AF65-F5344CB8AC3E}">
        <p14:creationId xmlns:p14="http://schemas.microsoft.com/office/powerpoint/2010/main" val="7647455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79</a:t>
            </a:fld>
            <a:endParaRPr lang="en-US"/>
          </a:p>
        </p:txBody>
      </p:sp>
    </p:spTree>
    <p:extLst>
      <p:ext uri="{BB962C8B-B14F-4D97-AF65-F5344CB8AC3E}">
        <p14:creationId xmlns:p14="http://schemas.microsoft.com/office/powerpoint/2010/main" val="6555130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82</a:t>
            </a:fld>
            <a:endParaRPr lang="en-US"/>
          </a:p>
        </p:txBody>
      </p:sp>
    </p:spTree>
    <p:extLst>
      <p:ext uri="{BB962C8B-B14F-4D97-AF65-F5344CB8AC3E}">
        <p14:creationId xmlns:p14="http://schemas.microsoft.com/office/powerpoint/2010/main" val="34160768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85</a:t>
            </a:fld>
            <a:endParaRPr lang="en-US"/>
          </a:p>
        </p:txBody>
      </p:sp>
    </p:spTree>
    <p:extLst>
      <p:ext uri="{BB962C8B-B14F-4D97-AF65-F5344CB8AC3E}">
        <p14:creationId xmlns:p14="http://schemas.microsoft.com/office/powerpoint/2010/main" val="1611960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10</a:t>
            </a:fld>
            <a:endParaRPr lang="en-US"/>
          </a:p>
        </p:txBody>
      </p:sp>
    </p:spTree>
    <p:extLst>
      <p:ext uri="{BB962C8B-B14F-4D97-AF65-F5344CB8AC3E}">
        <p14:creationId xmlns:p14="http://schemas.microsoft.com/office/powerpoint/2010/main" val="31741280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12</a:t>
            </a:fld>
            <a:endParaRPr lang="en-US"/>
          </a:p>
        </p:txBody>
      </p:sp>
    </p:spTree>
    <p:extLst>
      <p:ext uri="{BB962C8B-B14F-4D97-AF65-F5344CB8AC3E}">
        <p14:creationId xmlns:p14="http://schemas.microsoft.com/office/powerpoint/2010/main" val="4061318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13</a:t>
            </a:fld>
            <a:endParaRPr lang="en-US"/>
          </a:p>
        </p:txBody>
      </p:sp>
    </p:spTree>
    <p:extLst>
      <p:ext uri="{BB962C8B-B14F-4D97-AF65-F5344CB8AC3E}">
        <p14:creationId xmlns:p14="http://schemas.microsoft.com/office/powerpoint/2010/main" val="2761899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18</a:t>
            </a:fld>
            <a:endParaRPr lang="en-US"/>
          </a:p>
        </p:txBody>
      </p:sp>
    </p:spTree>
    <p:extLst>
      <p:ext uri="{BB962C8B-B14F-4D97-AF65-F5344CB8AC3E}">
        <p14:creationId xmlns:p14="http://schemas.microsoft.com/office/powerpoint/2010/main" val="3157341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22</a:t>
            </a:fld>
            <a:endParaRPr lang="en-US"/>
          </a:p>
        </p:txBody>
      </p:sp>
    </p:spTree>
    <p:extLst>
      <p:ext uri="{BB962C8B-B14F-4D97-AF65-F5344CB8AC3E}">
        <p14:creationId xmlns:p14="http://schemas.microsoft.com/office/powerpoint/2010/main" val="91392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29</a:t>
            </a:fld>
            <a:endParaRPr lang="en-US"/>
          </a:p>
        </p:txBody>
      </p:sp>
    </p:spTree>
    <p:extLst>
      <p:ext uri="{BB962C8B-B14F-4D97-AF65-F5344CB8AC3E}">
        <p14:creationId xmlns:p14="http://schemas.microsoft.com/office/powerpoint/2010/main" val="1954357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53D1BAF-D5D5-4DD6-B447-37B8D17A80B5}" type="slidenum">
              <a:rPr lang="en-US" smtClean="0"/>
              <a:t>30</a:t>
            </a:fld>
            <a:endParaRPr lang="en-US"/>
          </a:p>
        </p:txBody>
      </p:sp>
    </p:spTree>
    <p:extLst>
      <p:ext uri="{BB962C8B-B14F-4D97-AF65-F5344CB8AC3E}">
        <p14:creationId xmlns:p14="http://schemas.microsoft.com/office/powerpoint/2010/main" val="1091997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065141"/>
      </p:ext>
    </p:extLst>
  </p:cSld>
  <p:clrMapOvr>
    <a:masterClrMapping/>
  </p:clrMapOvr>
  <p:transition spd="slow">
    <p:comb/>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5" name="Title 11"/>
          <p:cNvSpPr>
            <a:spLocks noGrp="1"/>
          </p:cNvSpPr>
          <p:nvPr>
            <p:ph type="title" hasCustomPrompt="1"/>
          </p:nvPr>
        </p:nvSpPr>
        <p:spPr>
          <a:xfrm>
            <a:off x="925754" y="533400"/>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6" name="Rectangle 5"/>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
        <p:nvSpPr>
          <p:cNvPr id="8" name="Text Placeholder 2"/>
          <p:cNvSpPr>
            <a:spLocks noGrp="1"/>
          </p:cNvSpPr>
          <p:nvPr>
            <p:ph type="body" idx="17"/>
          </p:nvPr>
        </p:nvSpPr>
        <p:spPr>
          <a:xfrm>
            <a:off x="951162" y="1511300"/>
            <a:ext cx="10188053" cy="4467226"/>
          </a:xfrm>
          <a:prstGeom prst="rect">
            <a:avLst/>
          </a:prstGeom>
        </p:spPr>
        <p:txBody>
          <a:bodyPr vert="horz"/>
          <a:lstStyle>
            <a:lvl1pPr>
              <a:defRPr>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Tree>
    <p:extLst>
      <p:ext uri="{BB962C8B-B14F-4D97-AF65-F5344CB8AC3E}">
        <p14:creationId xmlns:p14="http://schemas.microsoft.com/office/powerpoint/2010/main" val="2987000274"/>
      </p:ext>
    </p:extLst>
  </p:cSld>
  <p:clrMapOvr>
    <a:masterClrMapping/>
  </p:clrMapOvr>
  <p:transition spd="slow">
    <p:comb/>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5" name="Title 11"/>
          <p:cNvSpPr>
            <a:spLocks noGrp="1"/>
          </p:cNvSpPr>
          <p:nvPr>
            <p:ph type="title" hasCustomPrompt="1"/>
          </p:nvPr>
        </p:nvSpPr>
        <p:spPr>
          <a:xfrm>
            <a:off x="925754" y="533400"/>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6" name="Rectangle 5"/>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pic>
        <p:nvPicPr>
          <p:cNvPr id="9" name="Picture 8"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Tree>
    <p:extLst>
      <p:ext uri="{BB962C8B-B14F-4D97-AF65-F5344CB8AC3E}">
        <p14:creationId xmlns:p14="http://schemas.microsoft.com/office/powerpoint/2010/main" val="3102979534"/>
      </p:ext>
    </p:extLst>
  </p:cSld>
  <p:clrMapOvr>
    <a:masterClrMapping/>
  </p:clrMapOvr>
  <p:transition spd="slow">
    <p:comb/>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mp; small picture">
    <p:spTree>
      <p:nvGrpSpPr>
        <p:cNvPr id="1" name=""/>
        <p:cNvGrpSpPr/>
        <p:nvPr/>
      </p:nvGrpSpPr>
      <p:grpSpPr>
        <a:xfrm>
          <a:off x="0" y="0"/>
          <a:ext cx="0" cy="0"/>
          <a:chOff x="0" y="0"/>
          <a:chExt cx="0" cy="0"/>
        </a:xfrm>
      </p:grpSpPr>
      <p:pic>
        <p:nvPicPr>
          <p:cNvPr id="4" name="Picture 3"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
        <p:nvSpPr>
          <p:cNvPr id="5" name="Title 11"/>
          <p:cNvSpPr>
            <a:spLocks noGrp="1"/>
          </p:cNvSpPr>
          <p:nvPr>
            <p:ph type="title" hasCustomPrompt="1"/>
          </p:nvPr>
        </p:nvSpPr>
        <p:spPr>
          <a:xfrm>
            <a:off x="925754" y="533400"/>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6" name="Rectangle 5"/>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
        <p:nvSpPr>
          <p:cNvPr id="8" name="Text Placeholder 2"/>
          <p:cNvSpPr>
            <a:spLocks noGrp="1"/>
          </p:cNvSpPr>
          <p:nvPr>
            <p:ph type="body" idx="17"/>
          </p:nvPr>
        </p:nvSpPr>
        <p:spPr>
          <a:xfrm>
            <a:off x="951162" y="1511300"/>
            <a:ext cx="5297277" cy="4467226"/>
          </a:xfrm>
          <a:prstGeom prst="rect">
            <a:avLst/>
          </a:prstGeom>
        </p:spPr>
        <p:txBody>
          <a:bodyPr vert="horz"/>
          <a:lstStyle>
            <a:lvl1pPr>
              <a:defRPr sz="3600">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sz="quarter" idx="33"/>
          </p:nvPr>
        </p:nvSpPr>
        <p:spPr>
          <a:xfrm>
            <a:off x="6609280" y="1677989"/>
            <a:ext cx="4529935" cy="4311335"/>
          </a:xfrm>
          <a:prstGeom prst="rect">
            <a:avLst/>
          </a:prstGeom>
          <a:ln w="19050">
            <a:noFill/>
          </a:ln>
        </p:spPr>
        <p:txBody>
          <a:bodyPr>
            <a:normAutofit/>
          </a:bodyPr>
          <a:lstStyle>
            <a:lvl1pPr marL="0" indent="0">
              <a:buNone/>
              <a:defRPr sz="1200">
                <a:solidFill>
                  <a:schemeClr val="bg1">
                    <a:lumMod val="50000"/>
                  </a:schemeClr>
                </a:solidFill>
                <a:latin typeface="Garamond" panose="02020404030301010803" pitchFamily="18" charset="0"/>
              </a:defRPr>
            </a:lvl1pPr>
          </a:lstStyle>
          <a:p>
            <a:endParaRPr lang="en-US" dirty="0"/>
          </a:p>
        </p:txBody>
      </p:sp>
    </p:spTree>
    <p:extLst>
      <p:ext uri="{BB962C8B-B14F-4D97-AF65-F5344CB8AC3E}">
        <p14:creationId xmlns:p14="http://schemas.microsoft.com/office/powerpoint/2010/main" val="527783007"/>
      </p:ext>
    </p:extLst>
  </p:cSld>
  <p:clrMapOvr>
    <a:masterClrMapping/>
  </p:clrMapOvr>
  <p:transition spd="slow">
    <p:comb/>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mp; large picture">
    <p:spTree>
      <p:nvGrpSpPr>
        <p:cNvPr id="1" name=""/>
        <p:cNvGrpSpPr/>
        <p:nvPr/>
      </p:nvGrpSpPr>
      <p:grpSpPr>
        <a:xfrm>
          <a:off x="0" y="0"/>
          <a:ext cx="0" cy="0"/>
          <a:chOff x="0" y="0"/>
          <a:chExt cx="0" cy="0"/>
        </a:xfrm>
      </p:grpSpPr>
      <p:sp>
        <p:nvSpPr>
          <p:cNvPr id="12" name="Title 11"/>
          <p:cNvSpPr>
            <a:spLocks noGrp="1"/>
          </p:cNvSpPr>
          <p:nvPr>
            <p:ph type="title" hasCustomPrompt="1"/>
          </p:nvPr>
        </p:nvSpPr>
        <p:spPr>
          <a:xfrm>
            <a:off x="925755" y="533400"/>
            <a:ext cx="4636706"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7" name="Picture Placeholder 6"/>
          <p:cNvSpPr>
            <a:spLocks noGrp="1"/>
          </p:cNvSpPr>
          <p:nvPr>
            <p:ph type="pic" sz="quarter" idx="10"/>
          </p:nvPr>
        </p:nvSpPr>
        <p:spPr>
          <a:xfrm>
            <a:off x="5867341" y="0"/>
            <a:ext cx="6324659" cy="6858000"/>
          </a:xfrm>
          <a:prstGeom prst="rect">
            <a:avLst/>
          </a:prstGeom>
        </p:spPr>
        <p:txBody>
          <a:bodyPr/>
          <a:lstStyle>
            <a:lvl1pPr>
              <a:defRPr>
                <a:latin typeface="Garamond" panose="02020404030301010803" pitchFamily="18" charset="0"/>
              </a:defRPr>
            </a:lvl1pPr>
          </a:lstStyle>
          <a:p>
            <a:endParaRPr lang="en-US" dirty="0"/>
          </a:p>
        </p:txBody>
      </p:sp>
      <p:sp>
        <p:nvSpPr>
          <p:cNvPr id="5" name="Rectangle 4"/>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
        <p:nvSpPr>
          <p:cNvPr id="3" name="Text Placeholder 2"/>
          <p:cNvSpPr>
            <a:spLocks noGrp="1"/>
          </p:cNvSpPr>
          <p:nvPr>
            <p:ph type="body" sz="quarter" idx="11" hasCustomPrompt="1"/>
          </p:nvPr>
        </p:nvSpPr>
        <p:spPr>
          <a:xfrm>
            <a:off x="6400879" y="5867400"/>
            <a:ext cx="3429892" cy="381000"/>
          </a:xfrm>
          <a:prstGeom prst="rect">
            <a:avLst/>
          </a:prstGeom>
          <a:solidFill>
            <a:srgbClr val="800000"/>
          </a:solidFill>
        </p:spPr>
        <p:txBody>
          <a:bodyPr vert="horz" anchor="ctr"/>
          <a:lstStyle>
            <a:lvl1pPr marL="0" indent="0">
              <a:buNone/>
              <a:defRPr sz="1600">
                <a:solidFill>
                  <a:schemeClr val="bg1"/>
                </a:solidFill>
                <a:latin typeface="Garamond" panose="02020404030301010803" pitchFamily="18" charset="0"/>
                <a:cs typeface="Arial"/>
              </a:defRPr>
            </a:lvl1pPr>
            <a:lvl2pPr marL="586039" indent="0">
              <a:buNone/>
              <a:defRPr sz="1600"/>
            </a:lvl2pPr>
            <a:lvl3pPr marL="1172078" indent="0">
              <a:buNone/>
              <a:defRPr sz="1600"/>
            </a:lvl3pPr>
            <a:lvl4pPr marL="1758117" indent="0">
              <a:buNone/>
              <a:defRPr sz="1600"/>
            </a:lvl4pPr>
            <a:lvl5pPr marL="2344156" indent="0">
              <a:buNone/>
              <a:defRPr sz="1600"/>
            </a:lvl5pPr>
          </a:lstStyle>
          <a:p>
            <a:pPr lvl="0"/>
            <a:r>
              <a:rPr lang="en-US" dirty="0"/>
              <a:t>CLICK TO EDIT STYLES</a:t>
            </a:r>
          </a:p>
        </p:txBody>
      </p:sp>
      <p:sp>
        <p:nvSpPr>
          <p:cNvPr id="9" name="Text Placeholder 3"/>
          <p:cNvSpPr>
            <a:spLocks noGrp="1"/>
          </p:cNvSpPr>
          <p:nvPr>
            <p:ph type="body" sz="quarter" idx="36"/>
          </p:nvPr>
        </p:nvSpPr>
        <p:spPr>
          <a:xfrm>
            <a:off x="951160" y="1677989"/>
            <a:ext cx="4611301" cy="4300537"/>
          </a:xfrm>
          <a:prstGeom prst="rect">
            <a:avLst/>
          </a:prstGeom>
        </p:spPr>
        <p:txBody>
          <a:bodyPr vert="horz"/>
          <a:lstStyle>
            <a:lvl1pPr marL="0" indent="0">
              <a:buNone/>
              <a:defRPr sz="1200">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 Master text styles</a:t>
            </a:r>
          </a:p>
        </p:txBody>
      </p:sp>
    </p:spTree>
    <p:extLst>
      <p:ext uri="{BB962C8B-B14F-4D97-AF65-F5344CB8AC3E}">
        <p14:creationId xmlns:p14="http://schemas.microsoft.com/office/powerpoint/2010/main" val="1648692135"/>
      </p:ext>
    </p:extLst>
  </p:cSld>
  <p:clrMapOvr>
    <a:masterClrMapping/>
  </p:clrMapOvr>
  <p:transition spd="slow">
    <p:comb/>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picture with titl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0"/>
            <a:ext cx="12192000" cy="6858000"/>
          </a:xfrm>
          <a:prstGeom prst="rect">
            <a:avLst/>
          </a:prstGeom>
        </p:spPr>
        <p:txBody>
          <a:bodyPr vert="horz"/>
          <a:lstStyle>
            <a:lvl1pPr>
              <a:defRPr>
                <a:latin typeface="Garamond" panose="02020404030301010803" pitchFamily="18" charset="0"/>
              </a:defRPr>
            </a:lvl1pPr>
          </a:lstStyle>
          <a:p>
            <a:endParaRPr lang="en-US" dirty="0"/>
          </a:p>
        </p:txBody>
      </p:sp>
      <p:sp>
        <p:nvSpPr>
          <p:cNvPr id="5" name="Title 11"/>
          <p:cNvSpPr>
            <a:spLocks noGrp="1"/>
          </p:cNvSpPr>
          <p:nvPr>
            <p:ph type="title" hasCustomPrompt="1"/>
          </p:nvPr>
        </p:nvSpPr>
        <p:spPr>
          <a:xfrm>
            <a:off x="925754" y="533400"/>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6" name="Rectangle 5"/>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Tree>
    <p:extLst>
      <p:ext uri="{BB962C8B-B14F-4D97-AF65-F5344CB8AC3E}">
        <p14:creationId xmlns:p14="http://schemas.microsoft.com/office/powerpoint/2010/main" val="845809517"/>
      </p:ext>
    </p:extLst>
  </p:cSld>
  <p:clrMapOvr>
    <a:masterClrMapping/>
  </p:clrMapOvr>
  <p:transition spd="slow">
    <p:comb/>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grpSp>
        <p:nvGrpSpPr>
          <p:cNvPr id="10" name="Group 9"/>
          <p:cNvGrpSpPr/>
          <p:nvPr userDrawn="1"/>
        </p:nvGrpSpPr>
        <p:grpSpPr>
          <a:xfrm>
            <a:off x="0" y="4460381"/>
            <a:ext cx="12195176" cy="101601"/>
            <a:chOff x="0" y="4714380"/>
            <a:chExt cx="12192000" cy="101601"/>
          </a:xfrm>
        </p:grpSpPr>
        <p:sp>
          <p:nvSpPr>
            <p:cNvPr id="11" name="Rectangle 10"/>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2" name="Parallelogram 11"/>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3" name="Parallelogram 12"/>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4" name="Parallelogram 13"/>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5" name="Parallelogram 14"/>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6" name="Parallelogram 15"/>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7" name="Freeform 16"/>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sp>
        <p:nvSpPr>
          <p:cNvPr id="18"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800000"/>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19"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pic>
        <p:nvPicPr>
          <p:cNvPr id="20" name="Picture 19"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Tree>
    <p:extLst>
      <p:ext uri="{BB962C8B-B14F-4D97-AF65-F5344CB8AC3E}">
        <p14:creationId xmlns:p14="http://schemas.microsoft.com/office/powerpoint/2010/main" val="1136316387"/>
      </p:ext>
    </p:extLst>
  </p:cSld>
  <p:clrMapOvr>
    <a:masterClrMapping/>
  </p:clrMapOvr>
  <p:transition spd="slow">
    <p:comb/>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solid red">
    <p:spTree>
      <p:nvGrpSpPr>
        <p:cNvPr id="1" name=""/>
        <p:cNvGrpSpPr/>
        <p:nvPr/>
      </p:nvGrpSpPr>
      <p:grpSpPr>
        <a:xfrm>
          <a:off x="0" y="0"/>
          <a:ext cx="0" cy="0"/>
          <a:chOff x="0" y="0"/>
          <a:chExt cx="0" cy="0"/>
        </a:xfrm>
      </p:grpSpPr>
      <p:pic>
        <p:nvPicPr>
          <p:cNvPr id="20" name="Picture 19"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
        <p:nvSpPr>
          <p:cNvPr id="32" name="Rectangle 31"/>
          <p:cNvSpPr/>
          <p:nvPr userDrawn="1"/>
        </p:nvSpPr>
        <p:spPr>
          <a:xfrm>
            <a:off x="1" y="0"/>
            <a:ext cx="12192000" cy="4495800"/>
          </a:xfrm>
          <a:prstGeom prst="rect">
            <a:avLst/>
          </a:prstGeom>
          <a:solidFill>
            <a:srgbClr val="8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grpSp>
        <p:nvGrpSpPr>
          <p:cNvPr id="33" name="Group 32"/>
          <p:cNvGrpSpPr/>
          <p:nvPr userDrawn="1"/>
        </p:nvGrpSpPr>
        <p:grpSpPr>
          <a:xfrm>
            <a:off x="0" y="4460381"/>
            <a:ext cx="12195176" cy="101601"/>
            <a:chOff x="0" y="4714380"/>
            <a:chExt cx="12192000" cy="101601"/>
          </a:xfrm>
        </p:grpSpPr>
        <p:sp>
          <p:nvSpPr>
            <p:cNvPr id="34" name="Rectangle 3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35" name="Parallelogram 3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36" name="Parallelogram 3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37" name="Parallelogram 36"/>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38" name="Parallelogram 37"/>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39" name="Parallelogram 38"/>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40" name="Freeform 39"/>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sp>
        <p:nvSpPr>
          <p:cNvPr id="43"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FFFFFF"/>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44"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solidFill>
                  <a:srgbClr val="FFFFFF"/>
                </a:solidFill>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spTree>
    <p:extLst>
      <p:ext uri="{BB962C8B-B14F-4D97-AF65-F5344CB8AC3E}">
        <p14:creationId xmlns:p14="http://schemas.microsoft.com/office/powerpoint/2010/main" val="2305081210"/>
      </p:ext>
    </p:extLst>
  </p:cSld>
  <p:clrMapOvr>
    <a:masterClrMapping/>
  </p:clrMapOvr>
  <p:transition spd="slow">
    <p:comb/>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with picture">
    <p:spTree>
      <p:nvGrpSpPr>
        <p:cNvPr id="1" name=""/>
        <p:cNvGrpSpPr/>
        <p:nvPr/>
      </p:nvGrpSpPr>
      <p:grpSpPr>
        <a:xfrm>
          <a:off x="0" y="0"/>
          <a:ext cx="0" cy="0"/>
          <a:chOff x="0" y="0"/>
          <a:chExt cx="0" cy="0"/>
        </a:xfrm>
      </p:grpSpPr>
      <p:sp>
        <p:nvSpPr>
          <p:cNvPr id="16" name="Picture Placeholder 2"/>
          <p:cNvSpPr>
            <a:spLocks noGrp="1"/>
          </p:cNvSpPr>
          <p:nvPr>
            <p:ph type="pic" sz="quarter" idx="10"/>
          </p:nvPr>
        </p:nvSpPr>
        <p:spPr>
          <a:xfrm>
            <a:off x="1" y="0"/>
            <a:ext cx="12192000" cy="4470400"/>
          </a:xfrm>
          <a:prstGeom prst="rect">
            <a:avLst/>
          </a:prstGeom>
        </p:spPr>
      </p:sp>
      <p:grpSp>
        <p:nvGrpSpPr>
          <p:cNvPr id="5" name="Group 4"/>
          <p:cNvGrpSpPr/>
          <p:nvPr userDrawn="1"/>
        </p:nvGrpSpPr>
        <p:grpSpPr>
          <a:xfrm>
            <a:off x="0" y="4460381"/>
            <a:ext cx="12195176" cy="101601"/>
            <a:chOff x="0" y="4714380"/>
            <a:chExt cx="12192000" cy="101601"/>
          </a:xfrm>
        </p:grpSpPr>
        <p:sp>
          <p:nvSpPr>
            <p:cNvPr id="6" name="Rectangle 5"/>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7" name="Parallelogram 6"/>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Parallelogram 10"/>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2" name="Freeform 11"/>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sp>
        <p:nvSpPr>
          <p:cNvPr id="13"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800000"/>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14"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pic>
        <p:nvPicPr>
          <p:cNvPr id="15" name="Picture 14"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Tree>
    <p:extLst>
      <p:ext uri="{BB962C8B-B14F-4D97-AF65-F5344CB8AC3E}">
        <p14:creationId xmlns:p14="http://schemas.microsoft.com/office/powerpoint/2010/main" val="3636309674"/>
      </p:ext>
    </p:extLst>
  </p:cSld>
  <p:clrMapOvr>
    <a:masterClrMapping/>
  </p:clrMapOvr>
  <p:transition spd="slow">
    <p:comb/>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picture slide with title">
    <p:spTree>
      <p:nvGrpSpPr>
        <p:cNvPr id="1" name=""/>
        <p:cNvGrpSpPr/>
        <p:nvPr/>
      </p:nvGrpSpPr>
      <p:grpSpPr>
        <a:xfrm>
          <a:off x="0" y="0"/>
          <a:ext cx="0" cy="0"/>
          <a:chOff x="0" y="0"/>
          <a:chExt cx="0" cy="0"/>
        </a:xfrm>
      </p:grpSpPr>
      <p:sp>
        <p:nvSpPr>
          <p:cNvPr id="2" name="Title 11"/>
          <p:cNvSpPr>
            <a:spLocks noGrp="1"/>
          </p:cNvSpPr>
          <p:nvPr>
            <p:ph type="title" hasCustomPrompt="1"/>
          </p:nvPr>
        </p:nvSpPr>
        <p:spPr>
          <a:xfrm>
            <a:off x="925754" y="5018406"/>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3" name="Rectangle 2"/>
          <p:cNvSpPr/>
          <p:nvPr userDrawn="1"/>
        </p:nvSpPr>
        <p:spPr>
          <a:xfrm>
            <a:off x="1040084" y="5780407"/>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grpSp>
        <p:nvGrpSpPr>
          <p:cNvPr id="5" name="Group 4"/>
          <p:cNvGrpSpPr/>
          <p:nvPr userDrawn="1"/>
        </p:nvGrpSpPr>
        <p:grpSpPr>
          <a:xfrm>
            <a:off x="0" y="4460381"/>
            <a:ext cx="12195176" cy="101601"/>
            <a:chOff x="0" y="4714380"/>
            <a:chExt cx="12192000" cy="101601"/>
          </a:xfrm>
        </p:grpSpPr>
        <p:sp>
          <p:nvSpPr>
            <p:cNvPr id="6" name="Rectangle 5"/>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7" name="Parallelogram 6"/>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Parallelogram 10"/>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2" name="Freeform 11"/>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3" name="Picture 12"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
        <p:nvSpPr>
          <p:cNvPr id="14" name="Picture Placeholder 6"/>
          <p:cNvSpPr>
            <a:spLocks noGrp="1"/>
          </p:cNvSpPr>
          <p:nvPr>
            <p:ph type="pic" sz="quarter" idx="10"/>
          </p:nvPr>
        </p:nvSpPr>
        <p:spPr>
          <a:xfrm>
            <a:off x="3208" y="0"/>
            <a:ext cx="12188792" cy="4467502"/>
          </a:xfrm>
          <a:prstGeom prst="rect">
            <a:avLst/>
          </a:prstGeom>
        </p:spPr>
        <p:txBody>
          <a:bodyPr/>
          <a:lstStyle>
            <a:lvl1pPr>
              <a:defRPr>
                <a:latin typeface="Garamond" panose="02020404030301010803" pitchFamily="18" charset="0"/>
              </a:defRPr>
            </a:lvl1pPr>
          </a:lstStyle>
          <a:p>
            <a:endParaRPr lang="en-US" dirty="0"/>
          </a:p>
        </p:txBody>
      </p:sp>
    </p:spTree>
    <p:extLst>
      <p:ext uri="{BB962C8B-B14F-4D97-AF65-F5344CB8AC3E}">
        <p14:creationId xmlns:p14="http://schemas.microsoft.com/office/powerpoint/2010/main" val="554128228"/>
      </p:ext>
    </p:extLst>
  </p:cSld>
  <p:clrMapOvr>
    <a:masterClrMapping/>
  </p:clrMapOvr>
  <p:transition spd="slow">
    <p:comb/>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picture with small text">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3208" y="0"/>
            <a:ext cx="12188792" cy="4467502"/>
          </a:xfrm>
          <a:prstGeom prst="rect">
            <a:avLst/>
          </a:prstGeom>
        </p:spPr>
        <p:txBody>
          <a:bodyPr/>
          <a:lstStyle>
            <a:lvl1pPr>
              <a:defRPr>
                <a:latin typeface="Garamond" panose="02020404030301010803" pitchFamily="18" charset="0"/>
              </a:defRPr>
            </a:lvl1pPr>
          </a:lstStyle>
          <a:p>
            <a:endParaRPr lang="en-US" dirty="0"/>
          </a:p>
        </p:txBody>
      </p:sp>
      <p:grpSp>
        <p:nvGrpSpPr>
          <p:cNvPr id="5" name="Group 4"/>
          <p:cNvGrpSpPr/>
          <p:nvPr userDrawn="1"/>
        </p:nvGrpSpPr>
        <p:grpSpPr>
          <a:xfrm>
            <a:off x="0" y="4460381"/>
            <a:ext cx="12195176" cy="101601"/>
            <a:chOff x="0" y="4714380"/>
            <a:chExt cx="12192000" cy="101601"/>
          </a:xfrm>
        </p:grpSpPr>
        <p:sp>
          <p:nvSpPr>
            <p:cNvPr id="6" name="Rectangle 5"/>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7" name="Parallelogram 6"/>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Parallelogram 10"/>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2" name="Freeform 11"/>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3" name="Picture 12"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
        <p:nvSpPr>
          <p:cNvPr id="14" name="Text Placeholder 3"/>
          <p:cNvSpPr>
            <a:spLocks noGrp="1"/>
          </p:cNvSpPr>
          <p:nvPr>
            <p:ph type="body" sz="quarter" idx="36"/>
          </p:nvPr>
        </p:nvSpPr>
        <p:spPr>
          <a:xfrm>
            <a:off x="951159" y="4926013"/>
            <a:ext cx="10188054" cy="912812"/>
          </a:xfrm>
          <a:prstGeom prst="rect">
            <a:avLst/>
          </a:prstGeom>
        </p:spPr>
        <p:txBody>
          <a:bodyPr vert="horz"/>
          <a:lstStyle>
            <a:lvl1pPr marL="0" indent="0">
              <a:buNone/>
              <a:defRPr sz="1200">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 Master text styles</a:t>
            </a:r>
          </a:p>
        </p:txBody>
      </p:sp>
      <p:sp>
        <p:nvSpPr>
          <p:cNvPr id="16" name="Text Placeholder 15"/>
          <p:cNvSpPr>
            <a:spLocks noGrp="1"/>
          </p:cNvSpPr>
          <p:nvPr>
            <p:ph type="body" sz="quarter" idx="37" hasCustomPrompt="1"/>
          </p:nvPr>
        </p:nvSpPr>
        <p:spPr>
          <a:xfrm>
            <a:off x="849535" y="0"/>
            <a:ext cx="4344530" cy="3657600"/>
          </a:xfrm>
          <a:prstGeom prst="rect">
            <a:avLst/>
          </a:prstGeom>
          <a:solidFill>
            <a:srgbClr val="800000">
              <a:alpha val="59000"/>
            </a:srgbClr>
          </a:solidFill>
        </p:spPr>
        <p:txBody>
          <a:bodyPr vert="horz" lIns="180000" tIns="0" rIns="180000" bIns="234000" anchor="b"/>
          <a:lstStyle>
            <a:lvl1pPr marL="0" indent="0">
              <a:buNone/>
              <a:defRPr>
                <a:solidFill>
                  <a:srgbClr val="FFFFFF"/>
                </a:solidFill>
                <a:latin typeface="Garamond" panose="02020404030301010803" pitchFamily="18" charset="0"/>
                <a:cs typeface="Arial"/>
              </a:defRPr>
            </a:lvl1pPr>
            <a:lvl2pPr>
              <a:defRPr>
                <a:solidFill>
                  <a:srgbClr val="FFFFFF"/>
                </a:solidFill>
                <a:latin typeface="Adobe Garamond Pro"/>
                <a:cs typeface="Adobe Garamond Pro"/>
              </a:defRPr>
            </a:lvl2pPr>
            <a:lvl3pPr>
              <a:defRPr>
                <a:solidFill>
                  <a:srgbClr val="FFFFFF"/>
                </a:solidFill>
                <a:latin typeface="Adobe Garamond Pro"/>
                <a:cs typeface="Adobe Garamond Pro"/>
              </a:defRPr>
            </a:lvl3pPr>
            <a:lvl4pPr>
              <a:defRPr>
                <a:solidFill>
                  <a:srgbClr val="FFFFFF"/>
                </a:solidFill>
                <a:latin typeface="Adobe Garamond Pro"/>
                <a:cs typeface="Adobe Garamond Pro"/>
              </a:defRPr>
            </a:lvl4pPr>
            <a:lvl5pPr>
              <a:defRPr>
                <a:solidFill>
                  <a:srgbClr val="FFFFFF"/>
                </a:solidFill>
                <a:latin typeface="Adobe Garamond Pro"/>
                <a:cs typeface="Adobe Garamond Pro"/>
              </a:defRPr>
            </a:lvl5pPr>
          </a:lstStyle>
          <a:p>
            <a:pPr lvl="0"/>
            <a:r>
              <a:rPr lang="en-US" dirty="0"/>
              <a:t>CLICK</a:t>
            </a:r>
          </a:p>
        </p:txBody>
      </p:sp>
    </p:spTree>
    <p:extLst>
      <p:ext uri="{BB962C8B-B14F-4D97-AF65-F5344CB8AC3E}">
        <p14:creationId xmlns:p14="http://schemas.microsoft.com/office/powerpoint/2010/main" val="1274440084"/>
      </p:ext>
    </p:extLst>
  </p:cSld>
  <p:clrMapOvr>
    <a:masterClrMapping/>
  </p:clrMapOvr>
  <p:transition spd="slow">
    <p:comb/>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no picture">
    <p:spTree>
      <p:nvGrpSpPr>
        <p:cNvPr id="1" name=""/>
        <p:cNvGrpSpPr/>
        <p:nvPr/>
      </p:nvGrpSpPr>
      <p:grpSpPr>
        <a:xfrm>
          <a:off x="0" y="0"/>
          <a:ext cx="0" cy="0"/>
          <a:chOff x="0" y="0"/>
          <a:chExt cx="0" cy="0"/>
        </a:xfrm>
      </p:grpSpPr>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8"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800000"/>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20"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sp>
        <p:nvSpPr>
          <p:cNvPr id="21" name="Text Placeholder 19"/>
          <p:cNvSpPr>
            <a:spLocks noGrp="1"/>
          </p:cNvSpPr>
          <p:nvPr>
            <p:ph type="body" sz="quarter" idx="13" hasCustomPrompt="1"/>
          </p:nvPr>
        </p:nvSpPr>
        <p:spPr>
          <a:xfrm>
            <a:off x="951161" y="5562601"/>
            <a:ext cx="4992399" cy="404031"/>
          </a:xfrm>
          <a:prstGeom prst="rect">
            <a:avLst/>
          </a:prstGeom>
        </p:spPr>
        <p:txBody>
          <a:bodyPr vert="horz" anchor="ctr"/>
          <a:lstStyle>
            <a:lvl1pPr marL="0" indent="0">
              <a:buNone/>
              <a:defRPr sz="1600" b="1" i="1">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ADD DATE</a:t>
            </a:r>
          </a:p>
        </p:txBody>
      </p:sp>
    </p:spTree>
    <p:extLst>
      <p:ext uri="{BB962C8B-B14F-4D97-AF65-F5344CB8AC3E}">
        <p14:creationId xmlns:p14="http://schemas.microsoft.com/office/powerpoint/2010/main" val="3450288964"/>
      </p:ext>
    </p:extLst>
  </p:cSld>
  <p:clrMapOvr>
    <a:masterClrMapping/>
  </p:clrMapOvr>
  <p:transition spd="slow">
    <p:comb/>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pictures &amp; text">
    <p:spTree>
      <p:nvGrpSpPr>
        <p:cNvPr id="1" name=""/>
        <p:cNvGrpSpPr/>
        <p:nvPr/>
      </p:nvGrpSpPr>
      <p:grpSpPr>
        <a:xfrm>
          <a:off x="0" y="0"/>
          <a:ext cx="0" cy="0"/>
          <a:chOff x="0" y="0"/>
          <a:chExt cx="0" cy="0"/>
        </a:xfrm>
      </p:grpSpPr>
      <p:sp>
        <p:nvSpPr>
          <p:cNvPr id="26" name="Picture Placeholder 25"/>
          <p:cNvSpPr>
            <a:spLocks noGrp="1"/>
          </p:cNvSpPr>
          <p:nvPr>
            <p:ph type="pic" sz="quarter" idx="10"/>
          </p:nvPr>
        </p:nvSpPr>
        <p:spPr>
          <a:xfrm>
            <a:off x="1052786" y="1677988"/>
            <a:ext cx="2103668" cy="3203186"/>
          </a:xfrm>
          <a:prstGeom prst="rect">
            <a:avLst/>
          </a:prstGeom>
        </p:spPr>
        <p:txBody>
          <a:bodyPr>
            <a:normAutofit/>
          </a:bodyPr>
          <a:lstStyle>
            <a:lvl1pPr marL="0" indent="0">
              <a:buNone/>
              <a:defRPr sz="1400">
                <a:latin typeface="Garamond" panose="02020404030301010803" pitchFamily="18" charset="0"/>
              </a:defRPr>
            </a:lvl1pPr>
          </a:lstStyle>
          <a:p>
            <a:endParaRPr lang="en-US" dirty="0"/>
          </a:p>
        </p:txBody>
      </p:sp>
      <p:sp>
        <p:nvSpPr>
          <p:cNvPr id="30" name="Picture Placeholder 25"/>
          <p:cNvSpPr>
            <a:spLocks noGrp="1"/>
          </p:cNvSpPr>
          <p:nvPr>
            <p:ph type="pic" sz="quarter" idx="11"/>
          </p:nvPr>
        </p:nvSpPr>
        <p:spPr>
          <a:xfrm>
            <a:off x="3303434" y="1677988"/>
            <a:ext cx="2103668" cy="3203186"/>
          </a:xfrm>
          <a:prstGeom prst="rect">
            <a:avLst/>
          </a:prstGeom>
        </p:spPr>
        <p:txBody>
          <a:bodyPr>
            <a:normAutofit/>
          </a:bodyPr>
          <a:lstStyle>
            <a:lvl1pPr marL="0" indent="0">
              <a:buNone/>
              <a:defRPr sz="1400">
                <a:latin typeface="Garamond" panose="02020404030301010803" pitchFamily="18" charset="0"/>
              </a:defRPr>
            </a:lvl1pPr>
          </a:lstStyle>
          <a:p>
            <a:endParaRPr lang="en-US" dirty="0"/>
          </a:p>
        </p:txBody>
      </p:sp>
      <p:sp>
        <p:nvSpPr>
          <p:cNvPr id="31" name="Picture Placeholder 25"/>
          <p:cNvSpPr>
            <a:spLocks noGrp="1"/>
          </p:cNvSpPr>
          <p:nvPr>
            <p:ph type="pic" sz="quarter" idx="12"/>
          </p:nvPr>
        </p:nvSpPr>
        <p:spPr>
          <a:xfrm>
            <a:off x="5580245" y="1677988"/>
            <a:ext cx="2103668" cy="3203186"/>
          </a:xfrm>
          <a:prstGeom prst="rect">
            <a:avLst/>
          </a:prstGeom>
        </p:spPr>
        <p:txBody>
          <a:bodyPr>
            <a:normAutofit/>
          </a:bodyPr>
          <a:lstStyle>
            <a:lvl1pPr marL="0" indent="0">
              <a:buNone/>
              <a:defRPr sz="1400">
                <a:latin typeface="Garamond" panose="02020404030301010803" pitchFamily="18" charset="0"/>
              </a:defRPr>
            </a:lvl1pPr>
          </a:lstStyle>
          <a:p>
            <a:endParaRPr lang="en-US" dirty="0"/>
          </a:p>
        </p:txBody>
      </p:sp>
      <p:sp>
        <p:nvSpPr>
          <p:cNvPr id="5" name="Title 11"/>
          <p:cNvSpPr>
            <a:spLocks noGrp="1"/>
          </p:cNvSpPr>
          <p:nvPr>
            <p:ph type="title" hasCustomPrompt="1"/>
          </p:nvPr>
        </p:nvSpPr>
        <p:spPr>
          <a:xfrm>
            <a:off x="925754" y="533400"/>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6" name="Rectangle 5"/>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
        <p:nvSpPr>
          <p:cNvPr id="7" name="Text Placeholder 3"/>
          <p:cNvSpPr>
            <a:spLocks noGrp="1"/>
          </p:cNvSpPr>
          <p:nvPr>
            <p:ph type="body" sz="quarter" idx="36"/>
          </p:nvPr>
        </p:nvSpPr>
        <p:spPr>
          <a:xfrm>
            <a:off x="7849056" y="1677989"/>
            <a:ext cx="3290158" cy="4300537"/>
          </a:xfrm>
          <a:prstGeom prst="rect">
            <a:avLst/>
          </a:prstGeom>
        </p:spPr>
        <p:txBody>
          <a:bodyPr vert="horz"/>
          <a:lstStyle>
            <a:lvl1pPr marL="0" indent="0">
              <a:buNone/>
              <a:defRPr sz="1200">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 Master text styles</a:t>
            </a:r>
          </a:p>
        </p:txBody>
      </p:sp>
      <p:pic>
        <p:nvPicPr>
          <p:cNvPr id="8" name="Picture 7"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Tree>
    <p:extLst>
      <p:ext uri="{BB962C8B-B14F-4D97-AF65-F5344CB8AC3E}">
        <p14:creationId xmlns:p14="http://schemas.microsoft.com/office/powerpoint/2010/main" val="2809368496"/>
      </p:ext>
    </p:extLst>
  </p:cSld>
  <p:clrMapOvr>
    <a:masterClrMapping/>
  </p:clrMapOvr>
  <p:transition spd="slow">
    <p:comb/>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59" name="Picture Placeholder 2"/>
          <p:cNvSpPr>
            <a:spLocks noGrp="1"/>
          </p:cNvSpPr>
          <p:nvPr>
            <p:ph type="pic" sz="quarter" idx="33"/>
          </p:nvPr>
        </p:nvSpPr>
        <p:spPr>
          <a:xfrm>
            <a:off x="6609279" y="2721049"/>
            <a:ext cx="5582722" cy="3268275"/>
          </a:xfrm>
          <a:prstGeom prst="rect">
            <a:avLst/>
          </a:prstGeom>
          <a:ln w="19050">
            <a:noFill/>
          </a:ln>
        </p:spPr>
        <p:txBody>
          <a:bodyPr>
            <a:normAutofit/>
          </a:bodyPr>
          <a:lstStyle>
            <a:lvl1pPr marL="0" indent="0">
              <a:buNone/>
              <a:defRPr sz="1200">
                <a:solidFill>
                  <a:schemeClr val="bg1">
                    <a:lumMod val="50000"/>
                  </a:schemeClr>
                </a:solidFill>
                <a:latin typeface="Garamond" panose="02020404030301010803" pitchFamily="18" charset="0"/>
              </a:defRPr>
            </a:lvl1pPr>
          </a:lstStyle>
          <a:p>
            <a:endParaRPr lang="en-US" dirty="0"/>
          </a:p>
        </p:txBody>
      </p:sp>
      <p:sp>
        <p:nvSpPr>
          <p:cNvPr id="57" name="Picture Placeholder 2"/>
          <p:cNvSpPr>
            <a:spLocks noGrp="1"/>
          </p:cNvSpPr>
          <p:nvPr>
            <p:ph type="pic" sz="quarter" idx="31"/>
          </p:nvPr>
        </p:nvSpPr>
        <p:spPr>
          <a:xfrm>
            <a:off x="3828285" y="4400735"/>
            <a:ext cx="2668841" cy="1588588"/>
          </a:xfrm>
          <a:prstGeom prst="rect">
            <a:avLst/>
          </a:prstGeom>
          <a:ln w="19050">
            <a:noFill/>
          </a:ln>
        </p:spPr>
        <p:txBody>
          <a:bodyPr>
            <a:normAutofit/>
          </a:bodyPr>
          <a:lstStyle>
            <a:lvl1pPr marL="0" indent="0">
              <a:buNone/>
              <a:defRPr sz="1200">
                <a:solidFill>
                  <a:schemeClr val="bg1">
                    <a:lumMod val="50000"/>
                  </a:schemeClr>
                </a:solidFill>
                <a:latin typeface="Garamond" panose="02020404030301010803" pitchFamily="18" charset="0"/>
              </a:defRPr>
            </a:lvl1pPr>
          </a:lstStyle>
          <a:p>
            <a:endParaRPr lang="en-US" dirty="0"/>
          </a:p>
        </p:txBody>
      </p:sp>
      <p:sp>
        <p:nvSpPr>
          <p:cNvPr id="3" name="Picture Placeholder 2"/>
          <p:cNvSpPr>
            <a:spLocks noGrp="1"/>
          </p:cNvSpPr>
          <p:nvPr>
            <p:ph type="pic" sz="quarter" idx="22"/>
          </p:nvPr>
        </p:nvSpPr>
        <p:spPr>
          <a:xfrm>
            <a:off x="3825109" y="2721048"/>
            <a:ext cx="2675196" cy="1588588"/>
          </a:xfrm>
          <a:prstGeom prst="rect">
            <a:avLst/>
          </a:prstGeom>
          <a:ln w="19050">
            <a:noFill/>
          </a:ln>
        </p:spPr>
        <p:txBody>
          <a:bodyPr>
            <a:normAutofit/>
          </a:bodyPr>
          <a:lstStyle>
            <a:lvl1pPr marL="0" indent="0">
              <a:buNone/>
              <a:defRPr sz="1200">
                <a:solidFill>
                  <a:schemeClr val="bg1">
                    <a:lumMod val="50000"/>
                  </a:schemeClr>
                </a:solidFill>
                <a:latin typeface="Garamond" panose="02020404030301010803" pitchFamily="18" charset="0"/>
              </a:defRPr>
            </a:lvl1pPr>
          </a:lstStyle>
          <a:p>
            <a:endParaRPr lang="en-US" dirty="0"/>
          </a:p>
        </p:txBody>
      </p:sp>
      <p:sp>
        <p:nvSpPr>
          <p:cNvPr id="19" name="Picture Placeholder 2"/>
          <p:cNvSpPr>
            <a:spLocks noGrp="1"/>
          </p:cNvSpPr>
          <p:nvPr>
            <p:ph type="pic" sz="quarter" idx="34"/>
          </p:nvPr>
        </p:nvSpPr>
        <p:spPr>
          <a:xfrm>
            <a:off x="1055962" y="4400735"/>
            <a:ext cx="2668841" cy="1588588"/>
          </a:xfrm>
          <a:prstGeom prst="rect">
            <a:avLst/>
          </a:prstGeom>
          <a:ln w="19050">
            <a:noFill/>
          </a:ln>
        </p:spPr>
        <p:txBody>
          <a:bodyPr>
            <a:normAutofit/>
          </a:bodyPr>
          <a:lstStyle>
            <a:lvl1pPr marL="0" indent="0">
              <a:buNone/>
              <a:defRPr sz="1200">
                <a:solidFill>
                  <a:schemeClr val="bg1">
                    <a:lumMod val="50000"/>
                  </a:schemeClr>
                </a:solidFill>
                <a:latin typeface="Garamond" panose="02020404030301010803" pitchFamily="18" charset="0"/>
              </a:defRPr>
            </a:lvl1pPr>
          </a:lstStyle>
          <a:p>
            <a:endParaRPr lang="en-US" dirty="0"/>
          </a:p>
        </p:txBody>
      </p:sp>
      <p:sp>
        <p:nvSpPr>
          <p:cNvPr id="20" name="Picture Placeholder 2"/>
          <p:cNvSpPr>
            <a:spLocks noGrp="1"/>
          </p:cNvSpPr>
          <p:nvPr>
            <p:ph type="pic" sz="quarter" idx="35"/>
          </p:nvPr>
        </p:nvSpPr>
        <p:spPr>
          <a:xfrm>
            <a:off x="1052786" y="2721048"/>
            <a:ext cx="2675196" cy="1588588"/>
          </a:xfrm>
          <a:prstGeom prst="rect">
            <a:avLst/>
          </a:prstGeom>
          <a:ln w="19050">
            <a:noFill/>
          </a:ln>
        </p:spPr>
        <p:txBody>
          <a:bodyPr>
            <a:normAutofit/>
          </a:bodyPr>
          <a:lstStyle>
            <a:lvl1pPr marL="0" indent="0">
              <a:buNone/>
              <a:defRPr sz="1200">
                <a:solidFill>
                  <a:schemeClr val="bg1">
                    <a:lumMod val="50000"/>
                  </a:schemeClr>
                </a:solidFill>
                <a:latin typeface="Garamond" panose="02020404030301010803" pitchFamily="18" charset="0"/>
              </a:defRPr>
            </a:lvl1pPr>
          </a:lstStyle>
          <a:p>
            <a:endParaRPr lang="en-US" dirty="0"/>
          </a:p>
        </p:txBody>
      </p:sp>
      <p:sp>
        <p:nvSpPr>
          <p:cNvPr id="10" name="Title 11"/>
          <p:cNvSpPr>
            <a:spLocks noGrp="1"/>
          </p:cNvSpPr>
          <p:nvPr>
            <p:ph type="title" hasCustomPrompt="1"/>
          </p:nvPr>
        </p:nvSpPr>
        <p:spPr>
          <a:xfrm>
            <a:off x="925754" y="533400"/>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11" name="Rectangle 10"/>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
        <p:nvSpPr>
          <p:cNvPr id="4" name="Text Placeholder 3"/>
          <p:cNvSpPr>
            <a:spLocks noGrp="1"/>
          </p:cNvSpPr>
          <p:nvPr>
            <p:ph type="body" sz="quarter" idx="36"/>
          </p:nvPr>
        </p:nvSpPr>
        <p:spPr>
          <a:xfrm>
            <a:off x="951161" y="1600200"/>
            <a:ext cx="10327789" cy="838200"/>
          </a:xfrm>
          <a:prstGeom prst="rect">
            <a:avLst/>
          </a:prstGeom>
        </p:spPr>
        <p:txBody>
          <a:bodyPr vert="horz"/>
          <a:lstStyle>
            <a:lvl1pPr marL="0" indent="0">
              <a:buNone/>
              <a:defRPr sz="1200">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 Master text styles</a:t>
            </a:r>
          </a:p>
        </p:txBody>
      </p:sp>
    </p:spTree>
    <p:extLst>
      <p:ext uri="{BB962C8B-B14F-4D97-AF65-F5344CB8AC3E}">
        <p14:creationId xmlns:p14="http://schemas.microsoft.com/office/powerpoint/2010/main" val="1804701808"/>
      </p:ext>
    </p:extLst>
  </p:cSld>
  <p:clrMapOvr>
    <a:masterClrMapping/>
  </p:clrMapOvr>
  <p:transition spd="slow">
    <p:comb/>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text &amp; large picture">
    <p:spTree>
      <p:nvGrpSpPr>
        <p:cNvPr id="1" name=""/>
        <p:cNvGrpSpPr/>
        <p:nvPr/>
      </p:nvGrpSpPr>
      <p:grpSpPr>
        <a:xfrm>
          <a:off x="0" y="0"/>
          <a:ext cx="0" cy="0"/>
          <a:chOff x="0" y="0"/>
          <a:chExt cx="0" cy="0"/>
        </a:xfrm>
      </p:grpSpPr>
      <p:sp>
        <p:nvSpPr>
          <p:cNvPr id="59" name="Picture Placeholder 2"/>
          <p:cNvSpPr>
            <a:spLocks noGrp="1"/>
          </p:cNvSpPr>
          <p:nvPr>
            <p:ph type="pic" sz="quarter" idx="33"/>
          </p:nvPr>
        </p:nvSpPr>
        <p:spPr>
          <a:xfrm>
            <a:off x="1052788" y="2721049"/>
            <a:ext cx="11151917" cy="3268275"/>
          </a:xfrm>
          <a:prstGeom prst="rect">
            <a:avLst/>
          </a:prstGeom>
          <a:ln w="19050">
            <a:noFill/>
          </a:ln>
        </p:spPr>
        <p:txBody>
          <a:bodyPr>
            <a:normAutofit/>
          </a:bodyPr>
          <a:lstStyle>
            <a:lvl1pPr marL="0" indent="0">
              <a:buNone/>
              <a:defRPr sz="1200">
                <a:solidFill>
                  <a:schemeClr val="bg1">
                    <a:lumMod val="50000"/>
                  </a:schemeClr>
                </a:solidFill>
                <a:latin typeface="Garamond" panose="02020404030301010803" pitchFamily="18" charset="0"/>
              </a:defRPr>
            </a:lvl1pPr>
          </a:lstStyle>
          <a:p>
            <a:endParaRPr lang="en-US" dirty="0"/>
          </a:p>
        </p:txBody>
      </p:sp>
      <p:sp>
        <p:nvSpPr>
          <p:cNvPr id="10" name="Title 11"/>
          <p:cNvSpPr>
            <a:spLocks noGrp="1"/>
          </p:cNvSpPr>
          <p:nvPr>
            <p:ph type="title" hasCustomPrompt="1"/>
          </p:nvPr>
        </p:nvSpPr>
        <p:spPr>
          <a:xfrm>
            <a:off x="925754" y="533400"/>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11" name="Rectangle 10"/>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
        <p:nvSpPr>
          <p:cNvPr id="4" name="Text Placeholder 3"/>
          <p:cNvSpPr>
            <a:spLocks noGrp="1"/>
          </p:cNvSpPr>
          <p:nvPr>
            <p:ph type="body" sz="quarter" idx="36"/>
          </p:nvPr>
        </p:nvSpPr>
        <p:spPr>
          <a:xfrm>
            <a:off x="951161" y="1600200"/>
            <a:ext cx="10327789" cy="838200"/>
          </a:xfrm>
          <a:prstGeom prst="rect">
            <a:avLst/>
          </a:prstGeom>
        </p:spPr>
        <p:txBody>
          <a:bodyPr vert="horz"/>
          <a:lstStyle>
            <a:lvl1pPr marL="0" indent="0">
              <a:buNone/>
              <a:defRPr sz="1200">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 Master text styles</a:t>
            </a:r>
          </a:p>
        </p:txBody>
      </p:sp>
    </p:spTree>
    <p:extLst>
      <p:ext uri="{BB962C8B-B14F-4D97-AF65-F5344CB8AC3E}">
        <p14:creationId xmlns:p14="http://schemas.microsoft.com/office/powerpoint/2010/main" val="990987243"/>
      </p:ext>
    </p:extLst>
  </p:cSld>
  <p:clrMapOvr>
    <a:masterClrMapping/>
  </p:clrMapOvr>
  <p:transition spd="slow">
    <p:comb/>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052788" y="1677988"/>
            <a:ext cx="4967532" cy="3249612"/>
          </a:xfrm>
          <a:prstGeom prst="rect">
            <a:avLst/>
          </a:prstGeom>
        </p:spPr>
        <p:txBody>
          <a:bodyPr/>
          <a:lstStyle>
            <a:lvl1pPr>
              <a:defRPr>
                <a:latin typeface="Garamond" panose="02020404030301010803" pitchFamily="18" charset="0"/>
              </a:defRPr>
            </a:lvl1pPr>
          </a:lstStyle>
          <a:p>
            <a:endParaRPr lang="en-US" dirty="0"/>
          </a:p>
        </p:txBody>
      </p:sp>
      <p:sp>
        <p:nvSpPr>
          <p:cNvPr id="4" name="Picture Placeholder 2"/>
          <p:cNvSpPr>
            <a:spLocks noGrp="1"/>
          </p:cNvSpPr>
          <p:nvPr>
            <p:ph type="pic" sz="quarter" idx="11"/>
          </p:nvPr>
        </p:nvSpPr>
        <p:spPr>
          <a:xfrm>
            <a:off x="6170094" y="1677988"/>
            <a:ext cx="4967532" cy="3249612"/>
          </a:xfrm>
          <a:prstGeom prst="rect">
            <a:avLst/>
          </a:prstGeom>
        </p:spPr>
        <p:txBody>
          <a:bodyPr/>
          <a:lstStyle>
            <a:lvl1pPr>
              <a:defRPr>
                <a:latin typeface="Garamond" panose="02020404030301010803" pitchFamily="18" charset="0"/>
              </a:defRPr>
            </a:lvl1pPr>
          </a:lstStyle>
          <a:p>
            <a:endParaRPr lang="en-US" dirty="0"/>
          </a:p>
        </p:txBody>
      </p:sp>
      <p:sp>
        <p:nvSpPr>
          <p:cNvPr id="5" name="Title 11"/>
          <p:cNvSpPr>
            <a:spLocks noGrp="1"/>
          </p:cNvSpPr>
          <p:nvPr>
            <p:ph type="title" hasCustomPrompt="1"/>
          </p:nvPr>
        </p:nvSpPr>
        <p:spPr>
          <a:xfrm>
            <a:off x="925754" y="533400"/>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6" name="Rectangle 5"/>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
        <p:nvSpPr>
          <p:cNvPr id="7" name="Text Placeholder 3"/>
          <p:cNvSpPr>
            <a:spLocks noGrp="1"/>
          </p:cNvSpPr>
          <p:nvPr>
            <p:ph type="body" sz="quarter" idx="36"/>
          </p:nvPr>
        </p:nvSpPr>
        <p:spPr>
          <a:xfrm>
            <a:off x="1040084" y="4927600"/>
            <a:ext cx="4979696" cy="1066800"/>
          </a:xfrm>
          <a:prstGeom prst="rect">
            <a:avLst/>
          </a:prstGeom>
          <a:solidFill>
            <a:srgbClr val="800000"/>
          </a:solidFill>
        </p:spPr>
        <p:txBody>
          <a:bodyPr vert="horz" lIns="180000" anchor="ctr"/>
          <a:lstStyle>
            <a:lvl1pPr marL="0" indent="0">
              <a:buNone/>
              <a:defRPr sz="1200">
                <a:solidFill>
                  <a:srgbClr val="FFFFFF"/>
                </a:solidFill>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 Master text styles</a:t>
            </a:r>
          </a:p>
        </p:txBody>
      </p:sp>
      <p:sp>
        <p:nvSpPr>
          <p:cNvPr id="8" name="Text Placeholder 3"/>
          <p:cNvSpPr>
            <a:spLocks noGrp="1"/>
          </p:cNvSpPr>
          <p:nvPr>
            <p:ph type="body" sz="quarter" idx="37"/>
          </p:nvPr>
        </p:nvSpPr>
        <p:spPr>
          <a:xfrm>
            <a:off x="6172220" y="4927600"/>
            <a:ext cx="4966993" cy="1066800"/>
          </a:xfrm>
          <a:prstGeom prst="rect">
            <a:avLst/>
          </a:prstGeom>
          <a:solidFill>
            <a:srgbClr val="927B4D"/>
          </a:solidFill>
        </p:spPr>
        <p:txBody>
          <a:bodyPr vert="horz" lIns="180000" anchor="ctr"/>
          <a:lstStyle>
            <a:lvl1pPr marL="0" indent="0">
              <a:buNone/>
              <a:defRPr sz="1200">
                <a:solidFill>
                  <a:srgbClr val="FFFFFF"/>
                </a:solidFill>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 Master text styles</a:t>
            </a:r>
          </a:p>
        </p:txBody>
      </p:sp>
      <p:pic>
        <p:nvPicPr>
          <p:cNvPr id="9" name="Picture 8"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Tree>
    <p:extLst>
      <p:ext uri="{BB962C8B-B14F-4D97-AF65-F5344CB8AC3E}">
        <p14:creationId xmlns:p14="http://schemas.microsoft.com/office/powerpoint/2010/main" val="3041789812"/>
      </p:ext>
    </p:extLst>
  </p:cSld>
  <p:clrMapOvr>
    <a:masterClrMapping/>
  </p:clrMapOvr>
  <p:transition spd="slow">
    <p:comb/>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collage">
    <p:spTree>
      <p:nvGrpSpPr>
        <p:cNvPr id="1" name=""/>
        <p:cNvGrpSpPr/>
        <p:nvPr/>
      </p:nvGrpSpPr>
      <p:grpSpPr>
        <a:xfrm>
          <a:off x="0" y="0"/>
          <a:ext cx="0" cy="0"/>
          <a:chOff x="0" y="0"/>
          <a:chExt cx="0" cy="0"/>
        </a:xfrm>
      </p:grpSpPr>
      <p:sp>
        <p:nvSpPr>
          <p:cNvPr id="15" name="Picture Placeholder 13"/>
          <p:cNvSpPr>
            <a:spLocks noGrp="1"/>
          </p:cNvSpPr>
          <p:nvPr>
            <p:ph type="pic" sz="quarter" idx="11"/>
          </p:nvPr>
        </p:nvSpPr>
        <p:spPr>
          <a:xfrm>
            <a:off x="3656964" y="1677987"/>
            <a:ext cx="2461267" cy="2054224"/>
          </a:xfrm>
          <a:prstGeom prst="rect">
            <a:avLst/>
          </a:prstGeom>
          <a:effectLst/>
        </p:spPr>
        <p:txBody>
          <a:bodyPr>
            <a:normAutofit/>
          </a:bodyPr>
          <a:lstStyle>
            <a:lvl1pPr marL="0" indent="0">
              <a:buNone/>
              <a:defRPr sz="2100">
                <a:ln>
                  <a:noFill/>
                </a:ln>
                <a:solidFill>
                  <a:schemeClr val="bg1">
                    <a:lumMod val="85000"/>
                  </a:schemeClr>
                </a:solidFill>
                <a:latin typeface="Garamond" panose="02020404030301010803" pitchFamily="18" charset="0"/>
              </a:defRPr>
            </a:lvl1pPr>
          </a:lstStyle>
          <a:p>
            <a:endParaRPr lang="en-US" dirty="0"/>
          </a:p>
        </p:txBody>
      </p:sp>
      <p:sp>
        <p:nvSpPr>
          <p:cNvPr id="17" name="Picture Placeholder 13"/>
          <p:cNvSpPr>
            <a:spLocks noGrp="1"/>
          </p:cNvSpPr>
          <p:nvPr>
            <p:ph type="pic" sz="quarter" idx="13"/>
          </p:nvPr>
        </p:nvSpPr>
        <p:spPr>
          <a:xfrm>
            <a:off x="6266199" y="1677988"/>
            <a:ext cx="4873014" cy="4300537"/>
          </a:xfrm>
          <a:prstGeom prst="rect">
            <a:avLst/>
          </a:prstGeom>
          <a:effectLst/>
        </p:spPr>
        <p:txBody>
          <a:bodyPr>
            <a:normAutofit/>
          </a:bodyPr>
          <a:lstStyle>
            <a:lvl1pPr marL="0" indent="0">
              <a:buNone/>
              <a:defRPr sz="2100">
                <a:ln>
                  <a:noFill/>
                </a:ln>
                <a:solidFill>
                  <a:schemeClr val="bg1">
                    <a:lumMod val="85000"/>
                  </a:schemeClr>
                </a:solidFill>
                <a:latin typeface="Garamond" panose="02020404030301010803" pitchFamily="18" charset="0"/>
              </a:defRPr>
            </a:lvl1pPr>
          </a:lstStyle>
          <a:p>
            <a:endParaRPr lang="en-US" dirty="0"/>
          </a:p>
        </p:txBody>
      </p:sp>
      <p:sp>
        <p:nvSpPr>
          <p:cNvPr id="13" name="Picture Placeholder 13"/>
          <p:cNvSpPr>
            <a:spLocks noGrp="1"/>
          </p:cNvSpPr>
          <p:nvPr>
            <p:ph type="pic" sz="quarter" idx="16"/>
          </p:nvPr>
        </p:nvSpPr>
        <p:spPr>
          <a:xfrm>
            <a:off x="1040084" y="3884612"/>
            <a:ext cx="2466752" cy="2111377"/>
          </a:xfrm>
          <a:prstGeom prst="rect">
            <a:avLst/>
          </a:prstGeom>
          <a:effectLst/>
        </p:spPr>
        <p:txBody>
          <a:bodyPr>
            <a:normAutofit/>
          </a:bodyPr>
          <a:lstStyle>
            <a:lvl1pPr marL="0" indent="0">
              <a:buNone/>
              <a:defRPr sz="2100">
                <a:ln>
                  <a:noFill/>
                </a:ln>
                <a:solidFill>
                  <a:schemeClr val="bg1">
                    <a:lumMod val="85000"/>
                  </a:schemeClr>
                </a:solidFill>
                <a:latin typeface="Garamond" panose="02020404030301010803" pitchFamily="18" charset="0"/>
              </a:defRPr>
            </a:lvl1pPr>
          </a:lstStyle>
          <a:p>
            <a:endParaRPr lang="en-US" dirty="0"/>
          </a:p>
        </p:txBody>
      </p:sp>
      <p:sp>
        <p:nvSpPr>
          <p:cNvPr id="11" name="Rectangle 10"/>
          <p:cNvSpPr/>
          <p:nvPr userDrawn="1"/>
        </p:nvSpPr>
        <p:spPr>
          <a:xfrm>
            <a:off x="1040084" y="1677988"/>
            <a:ext cx="2466752" cy="2058987"/>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
        <p:nvSpPr>
          <p:cNvPr id="12" name="Rectangle 11"/>
          <p:cNvSpPr/>
          <p:nvPr userDrawn="1"/>
        </p:nvSpPr>
        <p:spPr>
          <a:xfrm>
            <a:off x="3653790" y="3881438"/>
            <a:ext cx="2466752" cy="2114551"/>
          </a:xfrm>
          <a:prstGeom prst="rect">
            <a:avLst/>
          </a:prstGeom>
          <a:solidFill>
            <a:srgbClr val="927B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sp>
        <p:nvSpPr>
          <p:cNvPr id="7" name="Title 11"/>
          <p:cNvSpPr>
            <a:spLocks noGrp="1"/>
          </p:cNvSpPr>
          <p:nvPr>
            <p:ph type="title" hasCustomPrompt="1"/>
          </p:nvPr>
        </p:nvSpPr>
        <p:spPr>
          <a:xfrm>
            <a:off x="925754" y="533400"/>
            <a:ext cx="10213460" cy="609600"/>
          </a:xfrm>
          <a:prstGeom prst="rect">
            <a:avLst/>
          </a:prstGeom>
        </p:spPr>
        <p:txBody>
          <a:bodyPr>
            <a:normAutofit/>
          </a:bodyPr>
          <a:lstStyle>
            <a:lvl1pPr algn="l">
              <a:defRPr sz="3200">
                <a:solidFill>
                  <a:srgbClr val="800000"/>
                </a:solidFill>
                <a:latin typeface="Garamond" panose="02020404030301010803" pitchFamily="18" charset="0"/>
              </a:defRPr>
            </a:lvl1pPr>
          </a:lstStyle>
          <a:p>
            <a:r>
              <a:rPr lang="en-US" dirty="0"/>
              <a:t>CLICK TO EDIT</a:t>
            </a:r>
          </a:p>
        </p:txBody>
      </p:sp>
      <p:sp>
        <p:nvSpPr>
          <p:cNvPr id="8" name="Rectangle 7"/>
          <p:cNvSpPr/>
          <p:nvPr userDrawn="1"/>
        </p:nvSpPr>
        <p:spPr>
          <a:xfrm>
            <a:off x="1040084" y="1295401"/>
            <a:ext cx="1337313" cy="45719"/>
          </a:xfrm>
          <a:prstGeom prst="rect">
            <a:avLst/>
          </a:prstGeom>
          <a:solidFill>
            <a:srgbClr val="927B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pic>
        <p:nvPicPr>
          <p:cNvPr id="14" name="Picture 13" descr="LOGO-0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75032"/>
          <a:stretch/>
        </p:blipFill>
        <p:spPr>
          <a:xfrm>
            <a:off x="11171245" y="5740401"/>
            <a:ext cx="793684" cy="838201"/>
          </a:xfrm>
          <a:prstGeom prst="rect">
            <a:avLst/>
          </a:prstGeom>
        </p:spPr>
      </p:pic>
    </p:spTree>
    <p:extLst>
      <p:ext uri="{BB962C8B-B14F-4D97-AF65-F5344CB8AC3E}">
        <p14:creationId xmlns:p14="http://schemas.microsoft.com/office/powerpoint/2010/main" val="2953442327"/>
      </p:ext>
    </p:extLst>
  </p:cSld>
  <p:clrMapOvr>
    <a:masterClrMapping/>
  </p:clrMapOvr>
  <p:transition spd="slow">
    <p:comb/>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7" name="Parallelogram 6"/>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Freeform 9"/>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1" name="Picture 10" descr="LOGO-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5"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800000"/>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THANK YOU</a:t>
            </a:r>
          </a:p>
        </p:txBody>
      </p:sp>
      <p:sp>
        <p:nvSpPr>
          <p:cNvPr id="18" name="Rectangle 17"/>
          <p:cNvSpPr/>
          <p:nvPr userDrawn="1"/>
        </p:nvSpPr>
        <p:spPr>
          <a:xfrm>
            <a:off x="943534" y="899478"/>
            <a:ext cx="9115897" cy="1102866"/>
          </a:xfrm>
          <a:prstGeom prst="rect">
            <a:avLst/>
          </a:prstGeom>
        </p:spPr>
        <p:txBody>
          <a:bodyPr wrap="square">
            <a:spAutoFit/>
          </a:bodyPr>
          <a:lstStyle/>
          <a:p>
            <a:pPr defTabSz="1172078"/>
            <a:r>
              <a:rPr lang="en-US" sz="3200" i="1" baseline="30000" dirty="0">
                <a:solidFill>
                  <a:srgbClr val="800000"/>
                </a:solidFill>
                <a:latin typeface="Garamond" panose="02020404030301010803" pitchFamily="18" charset="0"/>
                <a:cs typeface="Arial"/>
              </a:rPr>
              <a:t>“Never doubt that a small group of thoughtful committed citizens can change the world, indeed it is the only thing that ever has”</a:t>
            </a:r>
          </a:p>
          <a:p>
            <a:pPr defTabSz="1172078"/>
            <a:r>
              <a:rPr lang="sv-SE" sz="2300" baseline="30000" dirty="0">
                <a:solidFill>
                  <a:srgbClr val="800000"/>
                </a:solidFill>
                <a:latin typeface="Garamond" panose="02020404030301010803" pitchFamily="18" charset="0"/>
                <a:cs typeface="Arial"/>
              </a:rPr>
              <a:t>Margaret Mead</a:t>
            </a:r>
            <a:endParaRPr lang="en-US" sz="2300" dirty="0">
              <a:solidFill>
                <a:srgbClr val="800000"/>
              </a:solidFill>
              <a:latin typeface="Garamond" panose="02020404030301010803" pitchFamily="18" charset="0"/>
              <a:cs typeface="Arial"/>
            </a:endParaRPr>
          </a:p>
        </p:txBody>
      </p:sp>
      <p:sp>
        <p:nvSpPr>
          <p:cNvPr id="16" name="TextBox 15"/>
          <p:cNvSpPr txBox="1"/>
          <p:nvPr userDrawn="1"/>
        </p:nvSpPr>
        <p:spPr>
          <a:xfrm>
            <a:off x="938451" y="5181601"/>
            <a:ext cx="5792709" cy="1200329"/>
          </a:xfrm>
          <a:prstGeom prst="rect">
            <a:avLst/>
          </a:prstGeom>
          <a:noFill/>
        </p:spPr>
        <p:txBody>
          <a:bodyPr wrap="square" rtlCol="0">
            <a:spAutoFit/>
          </a:bodyPr>
          <a:lstStyle/>
          <a:p>
            <a:pPr defTabSz="1172078"/>
            <a:r>
              <a:rPr lang="en-US" sz="1200" dirty="0">
                <a:solidFill>
                  <a:srgbClr val="927B4D"/>
                </a:solidFill>
                <a:latin typeface="Garamond" panose="02020404030301010803" pitchFamily="18" charset="0"/>
                <a:cs typeface="Arial"/>
              </a:rPr>
              <a:t>Email: fabiodun@africanleadershipacademy.org | Tel: +27 11 699 3000</a:t>
            </a:r>
          </a:p>
          <a:p>
            <a:pPr defTabSz="1172078"/>
            <a:r>
              <a:rPr lang="en-US" sz="1200" dirty="0">
                <a:solidFill>
                  <a:srgbClr val="927B4D"/>
                </a:solidFill>
                <a:latin typeface="Garamond" panose="02020404030301010803" pitchFamily="18" charset="0"/>
                <a:cs typeface="Arial"/>
              </a:rPr>
              <a:t>www.facebook.com/africanleadershipacademy.org</a:t>
            </a:r>
          </a:p>
          <a:p>
            <a:pPr defTabSz="1172078"/>
            <a:r>
              <a:rPr lang="en-US" sz="1200" dirty="0">
                <a:solidFill>
                  <a:srgbClr val="927B4D"/>
                </a:solidFill>
                <a:latin typeface="Garamond" panose="02020404030301010803" pitchFamily="18" charset="0"/>
                <a:cs typeface="Arial"/>
              </a:rPr>
              <a:t>www.twitter.com/ALAcademy</a:t>
            </a:r>
          </a:p>
          <a:p>
            <a:pPr defTabSz="1172078"/>
            <a:endParaRPr lang="en-US" sz="1200" dirty="0">
              <a:solidFill>
                <a:srgbClr val="800000"/>
              </a:solidFill>
              <a:latin typeface="Garamond" panose="02020404030301010803" pitchFamily="18" charset="0"/>
              <a:cs typeface="Arial"/>
            </a:endParaRPr>
          </a:p>
          <a:p>
            <a:pPr defTabSz="1172078">
              <a:defRPr/>
            </a:pPr>
            <a:r>
              <a:rPr lang="en-US" sz="1200" b="1" dirty="0">
                <a:solidFill>
                  <a:srgbClr val="800000"/>
                </a:solidFill>
                <a:latin typeface="Garamond" panose="02020404030301010803" pitchFamily="18" charset="0"/>
                <a:cs typeface="Arial"/>
              </a:rPr>
              <a:t>www.africanleadershipacademy.org</a:t>
            </a:r>
          </a:p>
          <a:p>
            <a:pPr defTabSz="1172078"/>
            <a:endParaRPr lang="en-US" sz="1200" dirty="0">
              <a:solidFill>
                <a:srgbClr val="800000"/>
              </a:solidFill>
              <a:latin typeface="Garamond" panose="02020404030301010803" pitchFamily="18" charset="0"/>
              <a:cs typeface="Arial"/>
            </a:endParaRPr>
          </a:p>
        </p:txBody>
      </p:sp>
    </p:spTree>
    <p:extLst>
      <p:ext uri="{BB962C8B-B14F-4D97-AF65-F5344CB8AC3E}">
        <p14:creationId xmlns:p14="http://schemas.microsoft.com/office/powerpoint/2010/main" val="2985985146"/>
      </p:ext>
    </p:extLst>
  </p:cSld>
  <p:clrMapOvr>
    <a:masterClrMapping/>
  </p:clrMapOvr>
  <p:transition spd="slow">
    <p:comb/>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in solid red">
    <p:spTree>
      <p:nvGrpSpPr>
        <p:cNvPr id="1" name=""/>
        <p:cNvGrpSpPr/>
        <p:nvPr/>
      </p:nvGrpSpPr>
      <p:grpSpPr>
        <a:xfrm>
          <a:off x="0" y="0"/>
          <a:ext cx="0" cy="0"/>
          <a:chOff x="0" y="0"/>
          <a:chExt cx="0" cy="0"/>
        </a:xfrm>
      </p:grpSpPr>
      <p:sp>
        <p:nvSpPr>
          <p:cNvPr id="16" name="Rectangle 15"/>
          <p:cNvSpPr/>
          <p:nvPr userDrawn="1"/>
        </p:nvSpPr>
        <p:spPr>
          <a:xfrm>
            <a:off x="1" y="0"/>
            <a:ext cx="12192000" cy="4495800"/>
          </a:xfrm>
          <a:prstGeom prst="rect">
            <a:avLst/>
          </a:prstGeom>
          <a:solidFill>
            <a:srgbClr val="8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7" name="Parallelogram 6"/>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Freeform 9"/>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1" name="Picture 10" descr="LOGO-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5" name="TextBox 14"/>
          <p:cNvSpPr txBox="1"/>
          <p:nvPr userDrawn="1"/>
        </p:nvSpPr>
        <p:spPr>
          <a:xfrm>
            <a:off x="938451" y="5181601"/>
            <a:ext cx="5792709" cy="1200329"/>
          </a:xfrm>
          <a:prstGeom prst="rect">
            <a:avLst/>
          </a:prstGeom>
          <a:noFill/>
        </p:spPr>
        <p:txBody>
          <a:bodyPr wrap="square" rtlCol="0">
            <a:spAutoFit/>
          </a:bodyPr>
          <a:lstStyle/>
          <a:p>
            <a:pPr defTabSz="1172078"/>
            <a:r>
              <a:rPr lang="en-US" sz="1200" dirty="0">
                <a:solidFill>
                  <a:srgbClr val="927B4D"/>
                </a:solidFill>
                <a:latin typeface="Garamond" panose="02020404030301010803" pitchFamily="18" charset="0"/>
                <a:cs typeface="Arial"/>
              </a:rPr>
              <a:t>Email: fabiodun@africanleadershipacademy.org | Tel: +27 11 699 3000</a:t>
            </a:r>
          </a:p>
          <a:p>
            <a:pPr defTabSz="1172078"/>
            <a:r>
              <a:rPr lang="en-US" sz="1200" dirty="0">
                <a:solidFill>
                  <a:srgbClr val="927B4D"/>
                </a:solidFill>
                <a:latin typeface="Garamond" panose="02020404030301010803" pitchFamily="18" charset="0"/>
                <a:cs typeface="Arial"/>
              </a:rPr>
              <a:t>www.facebook.com/africanleadershipacademy.org</a:t>
            </a:r>
          </a:p>
          <a:p>
            <a:pPr defTabSz="1172078"/>
            <a:r>
              <a:rPr lang="en-US" sz="1200" dirty="0">
                <a:solidFill>
                  <a:srgbClr val="927B4D"/>
                </a:solidFill>
                <a:latin typeface="Garamond" panose="02020404030301010803" pitchFamily="18" charset="0"/>
                <a:cs typeface="Arial"/>
              </a:rPr>
              <a:t>www.twitter.com/ALAcademy</a:t>
            </a:r>
          </a:p>
          <a:p>
            <a:pPr defTabSz="1172078"/>
            <a:endParaRPr lang="en-US" sz="1200" dirty="0">
              <a:solidFill>
                <a:srgbClr val="800000"/>
              </a:solidFill>
              <a:latin typeface="Garamond" panose="02020404030301010803" pitchFamily="18" charset="0"/>
              <a:cs typeface="Arial"/>
            </a:endParaRPr>
          </a:p>
          <a:p>
            <a:pPr defTabSz="1172078">
              <a:defRPr/>
            </a:pPr>
            <a:r>
              <a:rPr lang="en-US" sz="1200" b="1" dirty="0">
                <a:solidFill>
                  <a:srgbClr val="800000"/>
                </a:solidFill>
                <a:latin typeface="Garamond" panose="02020404030301010803" pitchFamily="18" charset="0"/>
                <a:cs typeface="Arial"/>
              </a:rPr>
              <a:t>www.africanleadershipacademy.org</a:t>
            </a:r>
          </a:p>
          <a:p>
            <a:pPr defTabSz="1172078"/>
            <a:endParaRPr lang="en-US" sz="1200" dirty="0">
              <a:solidFill>
                <a:srgbClr val="800000"/>
              </a:solidFill>
              <a:latin typeface="Garamond" panose="02020404030301010803" pitchFamily="18" charset="0"/>
              <a:cs typeface="Arial"/>
            </a:endParaRPr>
          </a:p>
        </p:txBody>
      </p:sp>
      <p:sp>
        <p:nvSpPr>
          <p:cNvPr id="17"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chemeClr val="bg1"/>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THANK YOU</a:t>
            </a:r>
          </a:p>
        </p:txBody>
      </p:sp>
      <p:sp>
        <p:nvSpPr>
          <p:cNvPr id="18" name="Rectangle 17"/>
          <p:cNvSpPr/>
          <p:nvPr userDrawn="1"/>
        </p:nvSpPr>
        <p:spPr>
          <a:xfrm>
            <a:off x="943534" y="899478"/>
            <a:ext cx="9115897" cy="1102866"/>
          </a:xfrm>
          <a:prstGeom prst="rect">
            <a:avLst/>
          </a:prstGeom>
        </p:spPr>
        <p:txBody>
          <a:bodyPr wrap="square">
            <a:spAutoFit/>
          </a:bodyPr>
          <a:lstStyle/>
          <a:p>
            <a:pPr defTabSz="1172078"/>
            <a:r>
              <a:rPr lang="en-US" sz="3200" i="1" baseline="30000" dirty="0">
                <a:solidFill>
                  <a:prstClr val="white"/>
                </a:solidFill>
                <a:latin typeface="Garamond" panose="02020404030301010803" pitchFamily="18" charset="0"/>
                <a:cs typeface="Arial"/>
              </a:rPr>
              <a:t>“Never doubt that a small group of thoughtful committed citizens can change the world, indeed it is the only thing that ever has”</a:t>
            </a:r>
          </a:p>
          <a:p>
            <a:pPr defTabSz="1172078"/>
            <a:r>
              <a:rPr lang="sv-SE" sz="2300" baseline="30000" dirty="0">
                <a:solidFill>
                  <a:prstClr val="white"/>
                </a:solidFill>
                <a:latin typeface="Garamond" panose="02020404030301010803" pitchFamily="18" charset="0"/>
                <a:cs typeface="Arial"/>
              </a:rPr>
              <a:t>Margaret Mead</a:t>
            </a:r>
            <a:endParaRPr lang="en-US" sz="2300" dirty="0">
              <a:solidFill>
                <a:prstClr val="white"/>
              </a:solidFill>
              <a:latin typeface="Garamond" panose="02020404030301010803" pitchFamily="18" charset="0"/>
              <a:cs typeface="Arial"/>
            </a:endParaRPr>
          </a:p>
        </p:txBody>
      </p:sp>
    </p:spTree>
    <p:extLst>
      <p:ext uri="{BB962C8B-B14F-4D97-AF65-F5344CB8AC3E}">
        <p14:creationId xmlns:p14="http://schemas.microsoft.com/office/powerpoint/2010/main" val="3731218214"/>
      </p:ext>
    </p:extLst>
  </p:cSld>
  <p:clrMapOvr>
    <a:masterClrMapping/>
  </p:clrMapOvr>
  <p:transition spd="slow">
    <p:comb/>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slide picture 1">
    <p:spTree>
      <p:nvGrpSpPr>
        <p:cNvPr id="1" name=""/>
        <p:cNvGrpSpPr/>
        <p:nvPr/>
      </p:nvGrpSpPr>
      <p:grpSpPr>
        <a:xfrm>
          <a:off x="0" y="0"/>
          <a:ext cx="0" cy="0"/>
          <a:chOff x="0" y="0"/>
          <a:chExt cx="0" cy="0"/>
        </a:xfrm>
      </p:grpSpPr>
      <p:pic>
        <p:nvPicPr>
          <p:cNvPr id="2" name="Picture 1" descr="ALAppt-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5" name="TextBox 14"/>
          <p:cNvSpPr txBox="1"/>
          <p:nvPr userDrawn="1"/>
        </p:nvSpPr>
        <p:spPr>
          <a:xfrm>
            <a:off x="938451" y="5181601"/>
            <a:ext cx="5792709" cy="1200329"/>
          </a:xfrm>
          <a:prstGeom prst="rect">
            <a:avLst/>
          </a:prstGeom>
          <a:noFill/>
        </p:spPr>
        <p:txBody>
          <a:bodyPr wrap="square" rtlCol="0">
            <a:spAutoFit/>
          </a:bodyPr>
          <a:lstStyle/>
          <a:p>
            <a:pPr defTabSz="1172078"/>
            <a:r>
              <a:rPr lang="en-US" sz="1200" dirty="0">
                <a:solidFill>
                  <a:srgbClr val="927B4D"/>
                </a:solidFill>
                <a:latin typeface="Garamond" panose="02020404030301010803" pitchFamily="18" charset="0"/>
                <a:cs typeface="Arial"/>
              </a:rPr>
              <a:t>Email: fabiodun@africanleadershipacademy.org | Tel: +27 11 699 3000</a:t>
            </a:r>
          </a:p>
          <a:p>
            <a:pPr defTabSz="1172078"/>
            <a:r>
              <a:rPr lang="en-US" sz="1200" dirty="0">
                <a:solidFill>
                  <a:srgbClr val="927B4D"/>
                </a:solidFill>
                <a:latin typeface="Garamond" panose="02020404030301010803" pitchFamily="18" charset="0"/>
                <a:cs typeface="Arial"/>
              </a:rPr>
              <a:t>www.facebook.com/africanleadershipacademy.org</a:t>
            </a:r>
          </a:p>
          <a:p>
            <a:pPr defTabSz="1172078"/>
            <a:r>
              <a:rPr lang="en-US" sz="1200" dirty="0">
                <a:solidFill>
                  <a:srgbClr val="927B4D"/>
                </a:solidFill>
                <a:latin typeface="Garamond" panose="02020404030301010803" pitchFamily="18" charset="0"/>
                <a:cs typeface="Arial"/>
              </a:rPr>
              <a:t>www.twitter.com/ALAcademy</a:t>
            </a:r>
          </a:p>
          <a:p>
            <a:pPr defTabSz="1172078"/>
            <a:endParaRPr lang="en-US" sz="1200" dirty="0">
              <a:solidFill>
                <a:srgbClr val="800000"/>
              </a:solidFill>
              <a:latin typeface="Garamond" panose="02020404030301010803" pitchFamily="18" charset="0"/>
              <a:cs typeface="Arial"/>
            </a:endParaRPr>
          </a:p>
          <a:p>
            <a:pPr defTabSz="1172078">
              <a:defRPr/>
            </a:pPr>
            <a:r>
              <a:rPr lang="en-US" sz="1200" b="1" dirty="0">
                <a:solidFill>
                  <a:srgbClr val="800000"/>
                </a:solidFill>
                <a:latin typeface="Garamond" panose="02020404030301010803" pitchFamily="18" charset="0"/>
                <a:cs typeface="Arial"/>
              </a:rPr>
              <a:t>www.africanleadershipacademy.org</a:t>
            </a:r>
          </a:p>
          <a:p>
            <a:pPr defTabSz="1172078"/>
            <a:endParaRPr lang="en-US" sz="1200" dirty="0">
              <a:solidFill>
                <a:srgbClr val="800000"/>
              </a:solidFill>
              <a:latin typeface="Garamond" panose="02020404030301010803" pitchFamily="18" charset="0"/>
              <a:cs typeface="Arial"/>
            </a:endParaRPr>
          </a:p>
        </p:txBody>
      </p:sp>
      <p:sp>
        <p:nvSpPr>
          <p:cNvPr id="16"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FFFFFF"/>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THANK YOU</a:t>
            </a:r>
          </a:p>
        </p:txBody>
      </p:sp>
      <p:sp>
        <p:nvSpPr>
          <p:cNvPr id="19" name="Rectangle 18"/>
          <p:cNvSpPr/>
          <p:nvPr userDrawn="1"/>
        </p:nvSpPr>
        <p:spPr>
          <a:xfrm>
            <a:off x="943534" y="2209800"/>
            <a:ext cx="9115897" cy="1102866"/>
          </a:xfrm>
          <a:prstGeom prst="rect">
            <a:avLst/>
          </a:prstGeom>
        </p:spPr>
        <p:txBody>
          <a:bodyPr wrap="square">
            <a:spAutoFit/>
          </a:bodyPr>
          <a:lstStyle/>
          <a:p>
            <a:pPr defTabSz="1172078"/>
            <a:r>
              <a:rPr lang="en-US" sz="3200" i="1" baseline="30000" dirty="0">
                <a:solidFill>
                  <a:srgbClr val="FFFFFF"/>
                </a:solidFill>
                <a:latin typeface="Garamond" panose="02020404030301010803" pitchFamily="18" charset="0"/>
                <a:cs typeface="Arial"/>
              </a:rPr>
              <a:t>“Never doubt that a small group of thoughtful committed citizens can change the world, indeed it is the only thing that ever has”</a:t>
            </a:r>
          </a:p>
          <a:p>
            <a:pPr defTabSz="1172078"/>
            <a:r>
              <a:rPr lang="sv-SE" sz="2300" baseline="30000" dirty="0">
                <a:solidFill>
                  <a:srgbClr val="FFFFFF"/>
                </a:solidFill>
                <a:latin typeface="Garamond" panose="02020404030301010803" pitchFamily="18" charset="0"/>
                <a:cs typeface="Arial"/>
              </a:rPr>
              <a:t>Margaret Mead</a:t>
            </a:r>
            <a:endParaRPr lang="en-US" sz="2300" dirty="0">
              <a:solidFill>
                <a:srgbClr val="FFFFFF"/>
              </a:solidFill>
              <a:latin typeface="Garamond" panose="02020404030301010803" pitchFamily="18" charset="0"/>
              <a:cs typeface="Arial"/>
            </a:endParaRPr>
          </a:p>
        </p:txBody>
      </p:sp>
    </p:spTree>
    <p:extLst>
      <p:ext uri="{BB962C8B-B14F-4D97-AF65-F5344CB8AC3E}">
        <p14:creationId xmlns:p14="http://schemas.microsoft.com/office/powerpoint/2010/main" val="4073638106"/>
      </p:ext>
    </p:extLst>
  </p:cSld>
  <p:clrMapOvr>
    <a:masterClrMapping/>
  </p:clrMapOvr>
  <p:transition spd="slow">
    <p:comb/>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slide pictur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7" y="0"/>
            <a:ext cx="12185648"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5" name="TextBox 14"/>
          <p:cNvSpPr txBox="1"/>
          <p:nvPr userDrawn="1"/>
        </p:nvSpPr>
        <p:spPr>
          <a:xfrm>
            <a:off x="938451" y="5181601"/>
            <a:ext cx="5792709" cy="1200329"/>
          </a:xfrm>
          <a:prstGeom prst="rect">
            <a:avLst/>
          </a:prstGeom>
          <a:noFill/>
        </p:spPr>
        <p:txBody>
          <a:bodyPr wrap="square" rtlCol="0">
            <a:spAutoFit/>
          </a:bodyPr>
          <a:lstStyle/>
          <a:p>
            <a:pPr defTabSz="1172078"/>
            <a:r>
              <a:rPr lang="en-US" sz="1200" dirty="0">
                <a:solidFill>
                  <a:srgbClr val="927B4D"/>
                </a:solidFill>
                <a:latin typeface="Garamond" panose="02020404030301010803" pitchFamily="18" charset="0"/>
                <a:cs typeface="Arial"/>
              </a:rPr>
              <a:t>Email: fabiodun@africanleadershipacademy.org | Tel: +27 11 699 3000</a:t>
            </a:r>
          </a:p>
          <a:p>
            <a:pPr defTabSz="1172078"/>
            <a:r>
              <a:rPr lang="en-US" sz="1200" dirty="0">
                <a:solidFill>
                  <a:srgbClr val="927B4D"/>
                </a:solidFill>
                <a:latin typeface="Garamond" panose="02020404030301010803" pitchFamily="18" charset="0"/>
                <a:cs typeface="Arial"/>
              </a:rPr>
              <a:t>www.facebook.com/africanleadershipacademy.org</a:t>
            </a:r>
          </a:p>
          <a:p>
            <a:pPr defTabSz="1172078"/>
            <a:r>
              <a:rPr lang="en-US" sz="1200" dirty="0">
                <a:solidFill>
                  <a:srgbClr val="927B4D"/>
                </a:solidFill>
                <a:latin typeface="Garamond" panose="02020404030301010803" pitchFamily="18" charset="0"/>
                <a:cs typeface="Arial"/>
              </a:rPr>
              <a:t>www.twitter.com/ALAcademy</a:t>
            </a:r>
          </a:p>
          <a:p>
            <a:pPr defTabSz="1172078"/>
            <a:endParaRPr lang="en-US" sz="1200" dirty="0">
              <a:solidFill>
                <a:srgbClr val="800000"/>
              </a:solidFill>
              <a:latin typeface="Garamond" panose="02020404030301010803" pitchFamily="18" charset="0"/>
              <a:cs typeface="Arial"/>
            </a:endParaRPr>
          </a:p>
          <a:p>
            <a:pPr defTabSz="1172078">
              <a:defRPr/>
            </a:pPr>
            <a:r>
              <a:rPr lang="en-US" sz="1200" b="1" dirty="0">
                <a:solidFill>
                  <a:srgbClr val="800000"/>
                </a:solidFill>
                <a:latin typeface="Garamond" panose="02020404030301010803" pitchFamily="18" charset="0"/>
                <a:cs typeface="Arial"/>
              </a:rPr>
              <a:t>www.africanleadershipacademy.org</a:t>
            </a:r>
          </a:p>
          <a:p>
            <a:pPr defTabSz="1172078"/>
            <a:endParaRPr lang="en-US" sz="1200" dirty="0">
              <a:solidFill>
                <a:srgbClr val="800000"/>
              </a:solidFill>
              <a:latin typeface="Garamond" panose="02020404030301010803" pitchFamily="18" charset="0"/>
              <a:cs typeface="Arial"/>
            </a:endParaRPr>
          </a:p>
        </p:txBody>
      </p:sp>
      <p:sp>
        <p:nvSpPr>
          <p:cNvPr id="16"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FFFFFF"/>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THANK YOU</a:t>
            </a:r>
          </a:p>
        </p:txBody>
      </p:sp>
      <p:sp>
        <p:nvSpPr>
          <p:cNvPr id="19" name="Rectangle 18"/>
          <p:cNvSpPr/>
          <p:nvPr userDrawn="1"/>
        </p:nvSpPr>
        <p:spPr>
          <a:xfrm>
            <a:off x="943534" y="2209800"/>
            <a:ext cx="9115897" cy="1102866"/>
          </a:xfrm>
          <a:prstGeom prst="rect">
            <a:avLst/>
          </a:prstGeom>
        </p:spPr>
        <p:txBody>
          <a:bodyPr wrap="square">
            <a:spAutoFit/>
          </a:bodyPr>
          <a:lstStyle/>
          <a:p>
            <a:pPr defTabSz="1172078"/>
            <a:r>
              <a:rPr lang="en-US" sz="3200" i="1" baseline="30000" dirty="0">
                <a:solidFill>
                  <a:srgbClr val="FFFFFF"/>
                </a:solidFill>
                <a:latin typeface="Garamond" panose="02020404030301010803" pitchFamily="18" charset="0"/>
                <a:cs typeface="Arial"/>
              </a:rPr>
              <a:t>“Never doubt that a small group of thoughtful committed citizens can change the world, indeed it is the only thing that ever has”</a:t>
            </a:r>
          </a:p>
          <a:p>
            <a:pPr defTabSz="1172078"/>
            <a:r>
              <a:rPr lang="sv-SE" sz="2300" baseline="30000" dirty="0">
                <a:solidFill>
                  <a:srgbClr val="FFFFFF"/>
                </a:solidFill>
                <a:latin typeface="Garamond" panose="02020404030301010803" pitchFamily="18" charset="0"/>
                <a:cs typeface="Arial"/>
              </a:rPr>
              <a:t>Margaret Mead</a:t>
            </a:r>
            <a:endParaRPr lang="en-US" sz="2300" dirty="0">
              <a:solidFill>
                <a:srgbClr val="FFFFFF"/>
              </a:solidFill>
              <a:latin typeface="Garamond" panose="02020404030301010803" pitchFamily="18" charset="0"/>
              <a:cs typeface="Arial"/>
            </a:endParaRPr>
          </a:p>
        </p:txBody>
      </p:sp>
    </p:spTree>
    <p:extLst>
      <p:ext uri="{BB962C8B-B14F-4D97-AF65-F5344CB8AC3E}">
        <p14:creationId xmlns:p14="http://schemas.microsoft.com/office/powerpoint/2010/main" val="4266884459"/>
      </p:ext>
    </p:extLst>
  </p:cSld>
  <p:clrMapOvr>
    <a:masterClrMapping/>
  </p:clrMapOvr>
  <p:transition spd="slow">
    <p:comb/>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d slide picture 3">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7" y="0"/>
            <a:ext cx="12185648"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5" name="TextBox 14"/>
          <p:cNvSpPr txBox="1"/>
          <p:nvPr userDrawn="1"/>
        </p:nvSpPr>
        <p:spPr>
          <a:xfrm>
            <a:off x="938451" y="5181601"/>
            <a:ext cx="5792709" cy="1200329"/>
          </a:xfrm>
          <a:prstGeom prst="rect">
            <a:avLst/>
          </a:prstGeom>
          <a:noFill/>
        </p:spPr>
        <p:txBody>
          <a:bodyPr wrap="square" rtlCol="0">
            <a:spAutoFit/>
          </a:bodyPr>
          <a:lstStyle/>
          <a:p>
            <a:pPr defTabSz="1172078"/>
            <a:r>
              <a:rPr lang="en-US" sz="1200" dirty="0">
                <a:solidFill>
                  <a:srgbClr val="927B4D"/>
                </a:solidFill>
                <a:latin typeface="Garamond" panose="02020404030301010803" pitchFamily="18" charset="0"/>
                <a:cs typeface="Arial"/>
              </a:rPr>
              <a:t>Email: fabiodun@africanleadershipacademy.org | Tel: +27 11 699 3000</a:t>
            </a:r>
          </a:p>
          <a:p>
            <a:pPr defTabSz="1172078"/>
            <a:r>
              <a:rPr lang="en-US" sz="1200" dirty="0">
                <a:solidFill>
                  <a:srgbClr val="927B4D"/>
                </a:solidFill>
                <a:latin typeface="Garamond" panose="02020404030301010803" pitchFamily="18" charset="0"/>
                <a:cs typeface="Arial"/>
              </a:rPr>
              <a:t>www.facebook.com/africanleadershipacademy.org</a:t>
            </a:r>
          </a:p>
          <a:p>
            <a:pPr defTabSz="1172078"/>
            <a:r>
              <a:rPr lang="en-US" sz="1200" dirty="0">
                <a:solidFill>
                  <a:srgbClr val="927B4D"/>
                </a:solidFill>
                <a:latin typeface="Garamond" panose="02020404030301010803" pitchFamily="18" charset="0"/>
                <a:cs typeface="Arial"/>
              </a:rPr>
              <a:t>www.twitter.com/ALAcademy</a:t>
            </a:r>
          </a:p>
          <a:p>
            <a:pPr defTabSz="1172078"/>
            <a:endParaRPr lang="en-US" sz="1200" dirty="0">
              <a:solidFill>
                <a:srgbClr val="800000"/>
              </a:solidFill>
              <a:latin typeface="Garamond" panose="02020404030301010803" pitchFamily="18" charset="0"/>
              <a:cs typeface="Arial"/>
            </a:endParaRPr>
          </a:p>
          <a:p>
            <a:pPr defTabSz="1172078">
              <a:defRPr/>
            </a:pPr>
            <a:r>
              <a:rPr lang="en-US" sz="1200" b="1" dirty="0">
                <a:solidFill>
                  <a:srgbClr val="800000"/>
                </a:solidFill>
                <a:latin typeface="Garamond" panose="02020404030301010803" pitchFamily="18" charset="0"/>
                <a:cs typeface="Arial"/>
              </a:rPr>
              <a:t>www.africanleadershipacademy.org</a:t>
            </a:r>
          </a:p>
          <a:p>
            <a:pPr defTabSz="1172078"/>
            <a:endParaRPr lang="en-US" sz="1200" dirty="0">
              <a:solidFill>
                <a:srgbClr val="800000"/>
              </a:solidFill>
              <a:latin typeface="Garamond" panose="02020404030301010803" pitchFamily="18" charset="0"/>
              <a:cs typeface="Arial"/>
            </a:endParaRPr>
          </a:p>
        </p:txBody>
      </p:sp>
      <p:sp>
        <p:nvSpPr>
          <p:cNvPr id="16"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FFFFFF"/>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THANK YOU</a:t>
            </a:r>
          </a:p>
        </p:txBody>
      </p:sp>
      <p:sp>
        <p:nvSpPr>
          <p:cNvPr id="19" name="Rectangle 18"/>
          <p:cNvSpPr/>
          <p:nvPr userDrawn="1"/>
        </p:nvSpPr>
        <p:spPr>
          <a:xfrm>
            <a:off x="943534" y="2209800"/>
            <a:ext cx="9115897" cy="1102866"/>
          </a:xfrm>
          <a:prstGeom prst="rect">
            <a:avLst/>
          </a:prstGeom>
        </p:spPr>
        <p:txBody>
          <a:bodyPr wrap="square">
            <a:spAutoFit/>
          </a:bodyPr>
          <a:lstStyle/>
          <a:p>
            <a:pPr defTabSz="1172078"/>
            <a:r>
              <a:rPr lang="en-US" sz="3200" i="1" baseline="30000" dirty="0">
                <a:solidFill>
                  <a:srgbClr val="FFFFFF"/>
                </a:solidFill>
                <a:latin typeface="Garamond" panose="02020404030301010803" pitchFamily="18" charset="0"/>
                <a:cs typeface="Arial"/>
              </a:rPr>
              <a:t>“Never doubt that a small group of thoughtful committed citizens can change the world, indeed it is the only thing that ever has”</a:t>
            </a:r>
          </a:p>
          <a:p>
            <a:pPr defTabSz="1172078"/>
            <a:r>
              <a:rPr lang="sv-SE" sz="2300" baseline="30000" dirty="0">
                <a:solidFill>
                  <a:srgbClr val="FFFFFF"/>
                </a:solidFill>
                <a:latin typeface="Garamond" panose="02020404030301010803" pitchFamily="18" charset="0"/>
                <a:cs typeface="Arial"/>
              </a:rPr>
              <a:t>Margaret Mead</a:t>
            </a:r>
            <a:endParaRPr lang="en-US" sz="2300" dirty="0">
              <a:solidFill>
                <a:srgbClr val="FFFFFF"/>
              </a:solidFill>
              <a:latin typeface="Garamond" panose="02020404030301010803" pitchFamily="18" charset="0"/>
              <a:cs typeface="Arial"/>
            </a:endParaRPr>
          </a:p>
        </p:txBody>
      </p:sp>
    </p:spTree>
    <p:extLst>
      <p:ext uri="{BB962C8B-B14F-4D97-AF65-F5344CB8AC3E}">
        <p14:creationId xmlns:p14="http://schemas.microsoft.com/office/powerpoint/2010/main" val="613532344"/>
      </p:ext>
    </p:extLst>
  </p:cSld>
  <p:clrMapOvr>
    <a:masterClrMapping/>
  </p:clrMapOvr>
  <p:transition spd="slow">
    <p:comb/>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solid red">
    <p:spTree>
      <p:nvGrpSpPr>
        <p:cNvPr id="1" name=""/>
        <p:cNvGrpSpPr/>
        <p:nvPr/>
      </p:nvGrpSpPr>
      <p:grpSpPr>
        <a:xfrm>
          <a:off x="0" y="0"/>
          <a:ext cx="0" cy="0"/>
          <a:chOff x="0" y="0"/>
          <a:chExt cx="0" cy="0"/>
        </a:xfrm>
      </p:grpSpPr>
      <p:sp>
        <p:nvSpPr>
          <p:cNvPr id="14" name="Rectangle 13"/>
          <p:cNvSpPr/>
          <p:nvPr userDrawn="1"/>
        </p:nvSpPr>
        <p:spPr>
          <a:xfrm>
            <a:off x="1" y="0"/>
            <a:ext cx="12192000" cy="4495800"/>
          </a:xfrm>
          <a:prstGeom prst="rect">
            <a:avLst/>
          </a:prstGeom>
          <a:solidFill>
            <a:srgbClr val="8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172078"/>
            <a:endParaRPr lang="en-US" sz="2300" dirty="0">
              <a:solidFill>
                <a:prstClr val="white"/>
              </a:solidFill>
              <a:latin typeface="Garamond" panose="02020404030301010803" pitchFamily="18" charset="0"/>
            </a:endParaRPr>
          </a:p>
        </p:txBody>
      </p:sp>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8"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FFFFFF"/>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20"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solidFill>
                  <a:srgbClr val="FFFFFF"/>
                </a:solidFill>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sp>
        <p:nvSpPr>
          <p:cNvPr id="21" name="Text Placeholder 19"/>
          <p:cNvSpPr>
            <a:spLocks noGrp="1"/>
          </p:cNvSpPr>
          <p:nvPr>
            <p:ph type="body" sz="quarter" idx="13" hasCustomPrompt="1"/>
          </p:nvPr>
        </p:nvSpPr>
        <p:spPr>
          <a:xfrm>
            <a:off x="951161" y="5562601"/>
            <a:ext cx="4992399" cy="404031"/>
          </a:xfrm>
          <a:prstGeom prst="rect">
            <a:avLst/>
          </a:prstGeom>
        </p:spPr>
        <p:txBody>
          <a:bodyPr vert="horz" anchor="ctr"/>
          <a:lstStyle>
            <a:lvl1pPr marL="0" indent="0">
              <a:buNone/>
              <a:defRPr sz="1600" b="1" i="1">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ADD DATE</a:t>
            </a:r>
          </a:p>
        </p:txBody>
      </p:sp>
    </p:spTree>
    <p:extLst>
      <p:ext uri="{BB962C8B-B14F-4D97-AF65-F5344CB8AC3E}">
        <p14:creationId xmlns:p14="http://schemas.microsoft.com/office/powerpoint/2010/main" val="1306458383"/>
      </p:ext>
    </p:extLst>
  </p:cSld>
  <p:clrMapOvr>
    <a:masterClrMapping/>
  </p:clrMapOvr>
  <p:transition spd="slow">
    <p:comb/>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slide pictur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7" y="0"/>
            <a:ext cx="12185648"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5" name="TextBox 14"/>
          <p:cNvSpPr txBox="1"/>
          <p:nvPr userDrawn="1"/>
        </p:nvSpPr>
        <p:spPr>
          <a:xfrm>
            <a:off x="938451" y="5181601"/>
            <a:ext cx="5792709" cy="1200329"/>
          </a:xfrm>
          <a:prstGeom prst="rect">
            <a:avLst/>
          </a:prstGeom>
          <a:noFill/>
        </p:spPr>
        <p:txBody>
          <a:bodyPr wrap="square" rtlCol="0">
            <a:spAutoFit/>
          </a:bodyPr>
          <a:lstStyle/>
          <a:p>
            <a:pPr defTabSz="1172078"/>
            <a:r>
              <a:rPr lang="en-US" sz="1200" dirty="0">
                <a:solidFill>
                  <a:srgbClr val="927B4D"/>
                </a:solidFill>
                <a:latin typeface="Garamond" panose="02020404030301010803" pitchFamily="18" charset="0"/>
                <a:cs typeface="Arial"/>
              </a:rPr>
              <a:t>Email: fabiodun@africanleadershipacademy.org | Tel: +27 11 699 3000</a:t>
            </a:r>
          </a:p>
          <a:p>
            <a:pPr defTabSz="1172078"/>
            <a:r>
              <a:rPr lang="en-US" sz="1200" dirty="0">
                <a:solidFill>
                  <a:srgbClr val="927B4D"/>
                </a:solidFill>
                <a:latin typeface="Garamond" panose="02020404030301010803" pitchFamily="18" charset="0"/>
                <a:cs typeface="Arial"/>
              </a:rPr>
              <a:t>www.facebook.com/africanleadershipacademy.org</a:t>
            </a:r>
          </a:p>
          <a:p>
            <a:pPr defTabSz="1172078"/>
            <a:r>
              <a:rPr lang="en-US" sz="1200" dirty="0">
                <a:solidFill>
                  <a:srgbClr val="927B4D"/>
                </a:solidFill>
                <a:latin typeface="Garamond" panose="02020404030301010803" pitchFamily="18" charset="0"/>
                <a:cs typeface="Arial"/>
              </a:rPr>
              <a:t>www.twitter.com/ALAcademy</a:t>
            </a:r>
          </a:p>
          <a:p>
            <a:pPr defTabSz="1172078"/>
            <a:endParaRPr lang="en-US" sz="1200" dirty="0">
              <a:solidFill>
                <a:srgbClr val="800000"/>
              </a:solidFill>
              <a:latin typeface="Garamond" panose="02020404030301010803" pitchFamily="18" charset="0"/>
              <a:cs typeface="Arial"/>
            </a:endParaRPr>
          </a:p>
          <a:p>
            <a:pPr defTabSz="1172078">
              <a:defRPr/>
            </a:pPr>
            <a:r>
              <a:rPr lang="en-US" sz="1200" b="1" dirty="0">
                <a:solidFill>
                  <a:srgbClr val="800000"/>
                </a:solidFill>
                <a:latin typeface="Garamond" panose="02020404030301010803" pitchFamily="18" charset="0"/>
                <a:cs typeface="Arial"/>
              </a:rPr>
              <a:t>www.africanleadershipacademy.org</a:t>
            </a:r>
          </a:p>
          <a:p>
            <a:pPr defTabSz="1172078"/>
            <a:endParaRPr lang="en-US" sz="1200" dirty="0">
              <a:solidFill>
                <a:srgbClr val="800000"/>
              </a:solidFill>
              <a:latin typeface="Garamond" panose="02020404030301010803" pitchFamily="18" charset="0"/>
              <a:cs typeface="Arial"/>
            </a:endParaRPr>
          </a:p>
        </p:txBody>
      </p:sp>
      <p:sp>
        <p:nvSpPr>
          <p:cNvPr id="16"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FFFFFF"/>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THANK YOU</a:t>
            </a:r>
          </a:p>
        </p:txBody>
      </p:sp>
      <p:sp>
        <p:nvSpPr>
          <p:cNvPr id="19" name="Rectangle 18"/>
          <p:cNvSpPr/>
          <p:nvPr userDrawn="1"/>
        </p:nvSpPr>
        <p:spPr>
          <a:xfrm>
            <a:off x="943534" y="2209800"/>
            <a:ext cx="9115897" cy="1102866"/>
          </a:xfrm>
          <a:prstGeom prst="rect">
            <a:avLst/>
          </a:prstGeom>
        </p:spPr>
        <p:txBody>
          <a:bodyPr wrap="square">
            <a:spAutoFit/>
          </a:bodyPr>
          <a:lstStyle/>
          <a:p>
            <a:pPr defTabSz="1172078"/>
            <a:r>
              <a:rPr lang="en-US" sz="3200" i="1" baseline="30000" dirty="0">
                <a:solidFill>
                  <a:srgbClr val="FFFFFF"/>
                </a:solidFill>
                <a:latin typeface="Garamond" panose="02020404030301010803" pitchFamily="18" charset="0"/>
                <a:cs typeface="Arial"/>
              </a:rPr>
              <a:t>“Never doubt that a small group of thoughtful committed citizens can change the world, indeed it is the only thing that ever has”</a:t>
            </a:r>
          </a:p>
          <a:p>
            <a:pPr defTabSz="1172078"/>
            <a:r>
              <a:rPr lang="sv-SE" sz="2300" baseline="30000" dirty="0">
                <a:solidFill>
                  <a:srgbClr val="FFFFFF"/>
                </a:solidFill>
                <a:latin typeface="Garamond" panose="02020404030301010803" pitchFamily="18" charset="0"/>
                <a:cs typeface="Arial"/>
              </a:rPr>
              <a:t>Margaret Mead</a:t>
            </a:r>
            <a:endParaRPr lang="en-US" sz="2300" dirty="0">
              <a:solidFill>
                <a:srgbClr val="FFFFFF"/>
              </a:solidFill>
              <a:latin typeface="Garamond" panose="02020404030301010803" pitchFamily="18" charset="0"/>
              <a:cs typeface="Arial"/>
            </a:endParaRPr>
          </a:p>
        </p:txBody>
      </p:sp>
    </p:spTree>
    <p:extLst>
      <p:ext uri="{BB962C8B-B14F-4D97-AF65-F5344CB8AC3E}">
        <p14:creationId xmlns:p14="http://schemas.microsoft.com/office/powerpoint/2010/main" val="3912666060"/>
      </p:ext>
    </p:extLst>
  </p:cSld>
  <p:clrMapOvr>
    <a:masterClrMapping/>
  </p:clrMapOvr>
  <p:transition spd="slow">
    <p:comb/>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slide pictur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7" y="0"/>
            <a:ext cx="12185648"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5" name="TextBox 14"/>
          <p:cNvSpPr txBox="1"/>
          <p:nvPr userDrawn="1"/>
        </p:nvSpPr>
        <p:spPr>
          <a:xfrm>
            <a:off x="938451" y="5181601"/>
            <a:ext cx="5792709" cy="1200329"/>
          </a:xfrm>
          <a:prstGeom prst="rect">
            <a:avLst/>
          </a:prstGeom>
          <a:noFill/>
        </p:spPr>
        <p:txBody>
          <a:bodyPr wrap="square" rtlCol="0">
            <a:spAutoFit/>
          </a:bodyPr>
          <a:lstStyle/>
          <a:p>
            <a:pPr defTabSz="1172078"/>
            <a:r>
              <a:rPr lang="en-US" sz="1200" dirty="0">
                <a:solidFill>
                  <a:srgbClr val="927B4D"/>
                </a:solidFill>
                <a:latin typeface="Garamond" panose="02020404030301010803" pitchFamily="18" charset="0"/>
                <a:cs typeface="Arial"/>
              </a:rPr>
              <a:t>Email: fabiodun@africanleadershipacademy.org | Tel: +27 11 699 3000</a:t>
            </a:r>
          </a:p>
          <a:p>
            <a:pPr defTabSz="1172078"/>
            <a:r>
              <a:rPr lang="en-US" sz="1200" dirty="0">
                <a:solidFill>
                  <a:srgbClr val="927B4D"/>
                </a:solidFill>
                <a:latin typeface="Garamond" panose="02020404030301010803" pitchFamily="18" charset="0"/>
                <a:cs typeface="Arial"/>
              </a:rPr>
              <a:t>www.facebook.com/africanleadershipacademy.org</a:t>
            </a:r>
          </a:p>
          <a:p>
            <a:pPr defTabSz="1172078"/>
            <a:r>
              <a:rPr lang="en-US" sz="1200" dirty="0">
                <a:solidFill>
                  <a:srgbClr val="927B4D"/>
                </a:solidFill>
                <a:latin typeface="Garamond" panose="02020404030301010803" pitchFamily="18" charset="0"/>
                <a:cs typeface="Arial"/>
              </a:rPr>
              <a:t>www.twitter.com/ALAcademy</a:t>
            </a:r>
          </a:p>
          <a:p>
            <a:pPr defTabSz="1172078"/>
            <a:endParaRPr lang="en-US" sz="1200" dirty="0">
              <a:solidFill>
                <a:srgbClr val="800000"/>
              </a:solidFill>
              <a:latin typeface="Garamond" panose="02020404030301010803" pitchFamily="18" charset="0"/>
              <a:cs typeface="Arial"/>
            </a:endParaRPr>
          </a:p>
          <a:p>
            <a:pPr defTabSz="1172078">
              <a:defRPr/>
            </a:pPr>
            <a:r>
              <a:rPr lang="en-US" sz="1200" b="1" dirty="0">
                <a:solidFill>
                  <a:srgbClr val="800000"/>
                </a:solidFill>
                <a:latin typeface="Garamond" panose="02020404030301010803" pitchFamily="18" charset="0"/>
                <a:cs typeface="Arial"/>
              </a:rPr>
              <a:t>www.africanleadershipacademy.org</a:t>
            </a:r>
          </a:p>
          <a:p>
            <a:pPr defTabSz="1172078"/>
            <a:endParaRPr lang="en-US" sz="1200" dirty="0">
              <a:solidFill>
                <a:srgbClr val="800000"/>
              </a:solidFill>
              <a:latin typeface="Garamond" panose="02020404030301010803" pitchFamily="18" charset="0"/>
              <a:cs typeface="Arial"/>
            </a:endParaRPr>
          </a:p>
        </p:txBody>
      </p:sp>
      <p:sp>
        <p:nvSpPr>
          <p:cNvPr id="22"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FFFFFF"/>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THANK YOU</a:t>
            </a:r>
          </a:p>
        </p:txBody>
      </p:sp>
      <p:sp>
        <p:nvSpPr>
          <p:cNvPr id="23" name="Rectangle 22"/>
          <p:cNvSpPr/>
          <p:nvPr userDrawn="1"/>
        </p:nvSpPr>
        <p:spPr>
          <a:xfrm>
            <a:off x="943534" y="2209800"/>
            <a:ext cx="9115897" cy="1102866"/>
          </a:xfrm>
          <a:prstGeom prst="rect">
            <a:avLst/>
          </a:prstGeom>
        </p:spPr>
        <p:txBody>
          <a:bodyPr wrap="square">
            <a:spAutoFit/>
          </a:bodyPr>
          <a:lstStyle/>
          <a:p>
            <a:pPr defTabSz="1172078"/>
            <a:r>
              <a:rPr lang="en-US" sz="3200" i="1" baseline="30000" dirty="0">
                <a:solidFill>
                  <a:srgbClr val="FFFFFF"/>
                </a:solidFill>
                <a:latin typeface="Garamond" panose="02020404030301010803" pitchFamily="18" charset="0"/>
                <a:cs typeface="Arial"/>
              </a:rPr>
              <a:t>“Never doubt that a small group of thoughtful committed citizens can change the world, indeed it is the only thing that ever has”</a:t>
            </a:r>
          </a:p>
          <a:p>
            <a:pPr defTabSz="1172078"/>
            <a:r>
              <a:rPr lang="sv-SE" sz="2300" baseline="30000" dirty="0">
                <a:solidFill>
                  <a:srgbClr val="FFFFFF"/>
                </a:solidFill>
                <a:latin typeface="Garamond" panose="02020404030301010803" pitchFamily="18" charset="0"/>
                <a:cs typeface="Arial"/>
              </a:rPr>
              <a:t>Margaret Mead</a:t>
            </a:r>
            <a:endParaRPr lang="en-US" sz="2300" dirty="0">
              <a:solidFill>
                <a:srgbClr val="FFFFFF"/>
              </a:solidFill>
              <a:latin typeface="Garamond" panose="02020404030301010803" pitchFamily="18" charset="0"/>
              <a:cs typeface="Arial"/>
            </a:endParaRPr>
          </a:p>
        </p:txBody>
      </p:sp>
    </p:spTree>
    <p:extLst>
      <p:ext uri="{BB962C8B-B14F-4D97-AF65-F5344CB8AC3E}">
        <p14:creationId xmlns:p14="http://schemas.microsoft.com/office/powerpoint/2010/main" val="3083896218"/>
      </p:ext>
    </p:extLst>
  </p:cSld>
  <p:clrMapOvr>
    <a:masterClrMapping/>
  </p:clrMapOvr>
  <p:transition spd="slow">
    <p:comb/>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1"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528FC5F6-F338-4AE4-BB23-26385BCFC423}" type="datetimeFigureOut">
              <a:rPr lang="en-US" smtClean="0"/>
              <a:pPr/>
              <a:t>5/5/2020</a:t>
            </a:fld>
            <a:endParaRPr lang="en-US" dirty="0"/>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6113E31D-E2AB-40D1-8B51-AFA5AFEF393A}" type="slidenum">
              <a:rPr lang="en-US" smtClean="0"/>
              <a:pPr/>
              <a:t>‹#›</a:t>
            </a:fld>
            <a:endParaRPr lang="en-US" dirty="0"/>
          </a:p>
        </p:txBody>
      </p:sp>
    </p:spTree>
    <p:extLst>
      <p:ext uri="{BB962C8B-B14F-4D97-AF65-F5344CB8AC3E}">
        <p14:creationId xmlns:p14="http://schemas.microsoft.com/office/powerpoint/2010/main" val="8531037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with picture">
    <p:spTree>
      <p:nvGrpSpPr>
        <p:cNvPr id="1" name=""/>
        <p:cNvGrpSpPr/>
        <p:nvPr/>
      </p:nvGrpSpPr>
      <p:grpSpPr>
        <a:xfrm>
          <a:off x="0" y="0"/>
          <a:ext cx="0" cy="0"/>
          <a:chOff x="0" y="0"/>
          <a:chExt cx="0" cy="0"/>
        </a:xfrm>
      </p:grpSpPr>
      <p:sp>
        <p:nvSpPr>
          <p:cNvPr id="15" name="Picture Placeholder 2"/>
          <p:cNvSpPr>
            <a:spLocks noGrp="1"/>
          </p:cNvSpPr>
          <p:nvPr>
            <p:ph type="pic" sz="quarter" idx="10"/>
          </p:nvPr>
        </p:nvSpPr>
        <p:spPr>
          <a:xfrm>
            <a:off x="1" y="0"/>
            <a:ext cx="12192000" cy="4470400"/>
          </a:xfrm>
          <a:prstGeom prst="rect">
            <a:avLst/>
          </a:prstGeom>
        </p:spPr>
      </p:sp>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8"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rgbClr val="800000"/>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20"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sp>
        <p:nvSpPr>
          <p:cNvPr id="21" name="Text Placeholder 19"/>
          <p:cNvSpPr>
            <a:spLocks noGrp="1"/>
          </p:cNvSpPr>
          <p:nvPr>
            <p:ph type="body" sz="quarter" idx="13" hasCustomPrompt="1"/>
          </p:nvPr>
        </p:nvSpPr>
        <p:spPr>
          <a:xfrm>
            <a:off x="951161" y="5562601"/>
            <a:ext cx="4992399" cy="404031"/>
          </a:xfrm>
          <a:prstGeom prst="rect">
            <a:avLst/>
          </a:prstGeom>
        </p:spPr>
        <p:txBody>
          <a:bodyPr vert="horz" anchor="ctr"/>
          <a:lstStyle>
            <a:lvl1pPr marL="0" indent="0">
              <a:buNone/>
              <a:defRPr sz="1600" b="1" i="1">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ADD DATE</a:t>
            </a:r>
          </a:p>
        </p:txBody>
      </p:sp>
    </p:spTree>
    <p:extLst>
      <p:ext uri="{BB962C8B-B14F-4D97-AF65-F5344CB8AC3E}">
        <p14:creationId xmlns:p14="http://schemas.microsoft.com/office/powerpoint/2010/main" val="1410247473"/>
      </p:ext>
    </p:extLst>
  </p:cSld>
  <p:clrMapOvr>
    <a:masterClrMapping/>
  </p:clrMapOvr>
  <p:transition spd="slow">
    <p:comb/>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picture 1">
    <p:spTree>
      <p:nvGrpSpPr>
        <p:cNvPr id="1" name=""/>
        <p:cNvGrpSpPr/>
        <p:nvPr/>
      </p:nvGrpSpPr>
      <p:grpSpPr>
        <a:xfrm>
          <a:off x="0" y="0"/>
          <a:ext cx="0" cy="0"/>
          <a:chOff x="0" y="0"/>
          <a:chExt cx="0" cy="0"/>
        </a:xfrm>
      </p:grpSpPr>
      <p:pic>
        <p:nvPicPr>
          <p:cNvPr id="2" name="Picture 1" descr="ALAppt-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8"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chemeClr val="bg1"/>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20"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solidFill>
                  <a:schemeClr val="bg1"/>
                </a:solidFill>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sp>
        <p:nvSpPr>
          <p:cNvPr id="21" name="Text Placeholder 19"/>
          <p:cNvSpPr>
            <a:spLocks noGrp="1"/>
          </p:cNvSpPr>
          <p:nvPr>
            <p:ph type="body" sz="quarter" idx="13" hasCustomPrompt="1"/>
          </p:nvPr>
        </p:nvSpPr>
        <p:spPr>
          <a:xfrm>
            <a:off x="951161" y="5562601"/>
            <a:ext cx="4992399" cy="404031"/>
          </a:xfrm>
          <a:prstGeom prst="rect">
            <a:avLst/>
          </a:prstGeom>
        </p:spPr>
        <p:txBody>
          <a:bodyPr vert="horz" anchor="ctr"/>
          <a:lstStyle>
            <a:lvl1pPr marL="0" indent="0">
              <a:buNone/>
              <a:defRPr sz="1600" b="1" i="1">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ADD DATE</a:t>
            </a:r>
          </a:p>
        </p:txBody>
      </p:sp>
    </p:spTree>
    <p:extLst>
      <p:ext uri="{BB962C8B-B14F-4D97-AF65-F5344CB8AC3E}">
        <p14:creationId xmlns:p14="http://schemas.microsoft.com/office/powerpoint/2010/main" val="586423482"/>
      </p:ext>
    </p:extLst>
  </p:cSld>
  <p:clrMapOvr>
    <a:masterClrMapping/>
  </p:clrMapOvr>
  <p:transition spd="slow">
    <p:comb/>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 pictur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7" y="0"/>
            <a:ext cx="12185648"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8"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chemeClr val="bg1"/>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20"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solidFill>
                  <a:schemeClr val="bg1"/>
                </a:solidFill>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sp>
        <p:nvSpPr>
          <p:cNvPr id="21" name="Text Placeholder 19"/>
          <p:cNvSpPr>
            <a:spLocks noGrp="1"/>
          </p:cNvSpPr>
          <p:nvPr>
            <p:ph type="body" sz="quarter" idx="13" hasCustomPrompt="1"/>
          </p:nvPr>
        </p:nvSpPr>
        <p:spPr>
          <a:xfrm>
            <a:off x="951161" y="5562601"/>
            <a:ext cx="4992399" cy="404031"/>
          </a:xfrm>
          <a:prstGeom prst="rect">
            <a:avLst/>
          </a:prstGeom>
        </p:spPr>
        <p:txBody>
          <a:bodyPr vert="horz" anchor="ctr"/>
          <a:lstStyle>
            <a:lvl1pPr marL="0" indent="0">
              <a:buNone/>
              <a:defRPr sz="1600" b="1" i="1">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ADD DATE</a:t>
            </a:r>
          </a:p>
        </p:txBody>
      </p:sp>
    </p:spTree>
    <p:extLst>
      <p:ext uri="{BB962C8B-B14F-4D97-AF65-F5344CB8AC3E}">
        <p14:creationId xmlns:p14="http://schemas.microsoft.com/office/powerpoint/2010/main" val="3119048392"/>
      </p:ext>
    </p:extLst>
  </p:cSld>
  <p:clrMapOvr>
    <a:masterClrMapping/>
  </p:clrMapOvr>
  <p:transition spd="slow">
    <p:comb/>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icture 3">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7" y="0"/>
            <a:ext cx="12185648"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8"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chemeClr val="bg1"/>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20"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solidFill>
                  <a:schemeClr val="bg1"/>
                </a:solidFill>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sp>
        <p:nvSpPr>
          <p:cNvPr id="21" name="Text Placeholder 19"/>
          <p:cNvSpPr>
            <a:spLocks noGrp="1"/>
          </p:cNvSpPr>
          <p:nvPr>
            <p:ph type="body" sz="quarter" idx="13" hasCustomPrompt="1"/>
          </p:nvPr>
        </p:nvSpPr>
        <p:spPr>
          <a:xfrm>
            <a:off x="951161" y="5562601"/>
            <a:ext cx="4992399" cy="404031"/>
          </a:xfrm>
          <a:prstGeom prst="rect">
            <a:avLst/>
          </a:prstGeom>
        </p:spPr>
        <p:txBody>
          <a:bodyPr vert="horz" anchor="ctr"/>
          <a:lstStyle>
            <a:lvl1pPr marL="0" indent="0">
              <a:buNone/>
              <a:defRPr sz="1600" b="1" i="1">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ADD DATE</a:t>
            </a:r>
          </a:p>
        </p:txBody>
      </p:sp>
    </p:spTree>
    <p:extLst>
      <p:ext uri="{BB962C8B-B14F-4D97-AF65-F5344CB8AC3E}">
        <p14:creationId xmlns:p14="http://schemas.microsoft.com/office/powerpoint/2010/main" val="3066997052"/>
      </p:ext>
    </p:extLst>
  </p:cSld>
  <p:clrMapOvr>
    <a:masterClrMapping/>
  </p:clrMapOvr>
  <p:transition spd="slow">
    <p:comb/>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slide pictur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7" y="0"/>
            <a:ext cx="12185648"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8"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chemeClr val="bg1"/>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20"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solidFill>
                  <a:schemeClr val="bg1"/>
                </a:solidFill>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sp>
        <p:nvSpPr>
          <p:cNvPr id="21" name="Text Placeholder 19"/>
          <p:cNvSpPr>
            <a:spLocks noGrp="1"/>
          </p:cNvSpPr>
          <p:nvPr>
            <p:ph type="body" sz="quarter" idx="13" hasCustomPrompt="1"/>
          </p:nvPr>
        </p:nvSpPr>
        <p:spPr>
          <a:xfrm>
            <a:off x="951161" y="5562601"/>
            <a:ext cx="4992399" cy="404031"/>
          </a:xfrm>
          <a:prstGeom prst="rect">
            <a:avLst/>
          </a:prstGeom>
        </p:spPr>
        <p:txBody>
          <a:bodyPr vert="horz" anchor="ctr"/>
          <a:lstStyle>
            <a:lvl1pPr marL="0" indent="0">
              <a:buNone/>
              <a:defRPr sz="1600" b="1" i="1">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ADD DATE</a:t>
            </a:r>
          </a:p>
        </p:txBody>
      </p:sp>
    </p:spTree>
    <p:extLst>
      <p:ext uri="{BB962C8B-B14F-4D97-AF65-F5344CB8AC3E}">
        <p14:creationId xmlns:p14="http://schemas.microsoft.com/office/powerpoint/2010/main" val="1861198203"/>
      </p:ext>
    </p:extLst>
  </p:cSld>
  <p:clrMapOvr>
    <a:masterClrMapping/>
  </p:clrMapOvr>
  <p:transition spd="slow">
    <p:comb/>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pictur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7" y="0"/>
            <a:ext cx="12185648" cy="4495800"/>
          </a:xfrm>
          <a:prstGeom prst="rect">
            <a:avLst/>
          </a:prstGeom>
        </p:spPr>
      </p:pic>
      <p:grpSp>
        <p:nvGrpSpPr>
          <p:cNvPr id="3" name="Group 2"/>
          <p:cNvGrpSpPr/>
          <p:nvPr userDrawn="1"/>
        </p:nvGrpSpPr>
        <p:grpSpPr>
          <a:xfrm>
            <a:off x="0" y="4460381"/>
            <a:ext cx="12195176" cy="101601"/>
            <a:chOff x="0" y="4714380"/>
            <a:chExt cx="12192000" cy="101601"/>
          </a:xfrm>
        </p:grpSpPr>
        <p:sp>
          <p:nvSpPr>
            <p:cNvPr id="4" name="Rectangle 3"/>
            <p:cNvSpPr/>
            <p:nvPr userDrawn="1"/>
          </p:nvSpPr>
          <p:spPr>
            <a:xfrm rot="10800000">
              <a:off x="0" y="4714380"/>
              <a:ext cx="12192000" cy="1016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5" name="Parallelogram 4"/>
            <p:cNvSpPr/>
            <p:nvPr userDrawn="1"/>
          </p:nvSpPr>
          <p:spPr>
            <a:xfrm rot="10800000">
              <a:off x="650875" y="4714380"/>
              <a:ext cx="749300" cy="101600"/>
            </a:xfrm>
            <a:prstGeom prst="parallelogram">
              <a:avLst>
                <a:gd name="adj" fmla="val 562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6" name="Parallelogram 5"/>
            <p:cNvSpPr/>
            <p:nvPr userDrawn="1"/>
          </p:nvSpPr>
          <p:spPr>
            <a:xfrm rot="10800000">
              <a:off x="1339850" y="4714380"/>
              <a:ext cx="749300" cy="101600"/>
            </a:xfrm>
            <a:prstGeom prst="parallelogram">
              <a:avLst>
                <a:gd name="adj" fmla="val 5625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8" name="Parallelogram 7"/>
            <p:cNvSpPr/>
            <p:nvPr userDrawn="1"/>
          </p:nvSpPr>
          <p:spPr>
            <a:xfrm rot="10800000">
              <a:off x="2028825" y="4714381"/>
              <a:ext cx="749300" cy="101600"/>
            </a:xfrm>
            <a:prstGeom prst="parallelogram">
              <a:avLst>
                <a:gd name="adj" fmla="val 56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9" name="Parallelogram 8"/>
            <p:cNvSpPr/>
            <p:nvPr userDrawn="1"/>
          </p:nvSpPr>
          <p:spPr>
            <a:xfrm rot="10800000">
              <a:off x="2717800" y="4714381"/>
              <a:ext cx="749300" cy="101600"/>
            </a:xfrm>
            <a:prstGeom prst="parallelogram">
              <a:avLst>
                <a:gd name="adj" fmla="val 562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0" name="Parallelogram 9"/>
            <p:cNvSpPr/>
            <p:nvPr userDrawn="1"/>
          </p:nvSpPr>
          <p:spPr>
            <a:xfrm rot="10800000">
              <a:off x="3406775" y="4714380"/>
              <a:ext cx="749300" cy="101600"/>
            </a:xfrm>
            <a:prstGeom prst="parallelogram">
              <a:avLst>
                <a:gd name="adj" fmla="val 56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sp>
          <p:nvSpPr>
            <p:cNvPr id="11" name="Freeform 10"/>
            <p:cNvSpPr/>
            <p:nvPr userDrawn="1"/>
          </p:nvSpPr>
          <p:spPr>
            <a:xfrm rot="10800000">
              <a:off x="0" y="4714381"/>
              <a:ext cx="711201" cy="101600"/>
            </a:xfrm>
            <a:custGeom>
              <a:avLst/>
              <a:gdLst>
                <a:gd name="connsiteX0" fmla="*/ 57150 w 711201"/>
                <a:gd name="connsiteY0" fmla="*/ 0 h 101600"/>
                <a:gd name="connsiteX1" fmla="*/ 711201 w 711201"/>
                <a:gd name="connsiteY1" fmla="*/ 0 h 101600"/>
                <a:gd name="connsiteX2" fmla="*/ 711201 w 711201"/>
                <a:gd name="connsiteY2" fmla="*/ 101600 h 101600"/>
                <a:gd name="connsiteX3" fmla="*/ 0 w 711201"/>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711201" h="101600">
                  <a:moveTo>
                    <a:pt x="57150" y="0"/>
                  </a:moveTo>
                  <a:lnTo>
                    <a:pt x="711201" y="0"/>
                  </a:lnTo>
                  <a:lnTo>
                    <a:pt x="711201" y="101600"/>
                  </a:lnTo>
                  <a:lnTo>
                    <a:pt x="0" y="1016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2078"/>
              <a:endParaRPr lang="id-ID" sz="2300" dirty="0">
                <a:solidFill>
                  <a:prstClr val="white"/>
                </a:solidFill>
                <a:latin typeface="Garamond" panose="02020404030301010803" pitchFamily="18" charset="0"/>
              </a:endParaRPr>
            </a:p>
          </p:txBody>
        </p:sp>
      </p:grpSp>
      <p:pic>
        <p:nvPicPr>
          <p:cNvPr id="17" name="Picture 16" descr="LOGO-01.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2894" y="5067301"/>
            <a:ext cx="5201732" cy="1371600"/>
          </a:xfrm>
          <a:prstGeom prst="rect">
            <a:avLst/>
          </a:prstGeom>
        </p:spPr>
      </p:pic>
      <p:sp>
        <p:nvSpPr>
          <p:cNvPr id="18" name="Text Placeholder 17"/>
          <p:cNvSpPr>
            <a:spLocks noGrp="1"/>
          </p:cNvSpPr>
          <p:nvPr>
            <p:ph type="body" sz="quarter" idx="11" hasCustomPrompt="1"/>
          </p:nvPr>
        </p:nvSpPr>
        <p:spPr>
          <a:xfrm>
            <a:off x="938456" y="3429000"/>
            <a:ext cx="10416713" cy="685800"/>
          </a:xfrm>
          <a:prstGeom prst="rect">
            <a:avLst/>
          </a:prstGeom>
        </p:spPr>
        <p:txBody>
          <a:bodyPr vert="horz"/>
          <a:lstStyle>
            <a:lvl1pPr marL="0" indent="0">
              <a:buNone/>
              <a:defRPr sz="3600">
                <a:solidFill>
                  <a:schemeClr val="bg1"/>
                </a:solidFill>
                <a:latin typeface="Garamond" panose="02020404030301010803" pitchFamily="18" charset="0"/>
                <a:cs typeface="Arial"/>
              </a:defRPr>
            </a:lvl1pPr>
            <a:lvl2pPr marL="586039" indent="0">
              <a:buNone/>
              <a:defRPr>
                <a:solidFill>
                  <a:srgbClr val="800000"/>
                </a:solidFill>
                <a:latin typeface="Adobe Garamond Pro"/>
                <a:cs typeface="Adobe Garamond Pro"/>
              </a:defRPr>
            </a:lvl2pPr>
            <a:lvl3pPr marL="1172078" indent="0">
              <a:buNone/>
              <a:defRPr>
                <a:solidFill>
                  <a:srgbClr val="800000"/>
                </a:solidFill>
                <a:latin typeface="Adobe Garamond Pro"/>
                <a:cs typeface="Adobe Garamond Pro"/>
              </a:defRPr>
            </a:lvl3pPr>
            <a:lvl4pPr marL="1758117" indent="0">
              <a:buNone/>
              <a:defRPr>
                <a:solidFill>
                  <a:srgbClr val="800000"/>
                </a:solidFill>
                <a:latin typeface="Adobe Garamond Pro"/>
                <a:cs typeface="Adobe Garamond Pro"/>
              </a:defRPr>
            </a:lvl4pPr>
            <a:lvl5pPr marL="2344156" indent="0">
              <a:buNone/>
              <a:defRPr>
                <a:solidFill>
                  <a:srgbClr val="800000"/>
                </a:solidFill>
                <a:latin typeface="Adobe Garamond Pro"/>
                <a:cs typeface="Adobe Garamond Pro"/>
              </a:defRPr>
            </a:lvl5pPr>
          </a:lstStyle>
          <a:p>
            <a:pPr lvl="0"/>
            <a:r>
              <a:rPr lang="en-US" dirty="0"/>
              <a:t>CLICK TO EDIT</a:t>
            </a:r>
          </a:p>
        </p:txBody>
      </p:sp>
      <p:sp>
        <p:nvSpPr>
          <p:cNvPr id="20" name="Text Placeholder 19"/>
          <p:cNvSpPr>
            <a:spLocks noGrp="1"/>
          </p:cNvSpPr>
          <p:nvPr>
            <p:ph type="body" sz="quarter" idx="12" hasCustomPrompt="1"/>
          </p:nvPr>
        </p:nvSpPr>
        <p:spPr>
          <a:xfrm>
            <a:off x="963865" y="4076700"/>
            <a:ext cx="10391305" cy="292100"/>
          </a:xfrm>
          <a:prstGeom prst="rect">
            <a:avLst/>
          </a:prstGeom>
        </p:spPr>
        <p:txBody>
          <a:bodyPr vert="horz" anchor="ctr"/>
          <a:lstStyle>
            <a:lvl1pPr marL="0" indent="0">
              <a:buNone/>
              <a:defRPr sz="1200">
                <a:solidFill>
                  <a:schemeClr val="bg1"/>
                </a:solidFill>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EDIT</a:t>
            </a:r>
          </a:p>
        </p:txBody>
      </p:sp>
      <p:sp>
        <p:nvSpPr>
          <p:cNvPr id="16" name="Text Placeholder 19"/>
          <p:cNvSpPr>
            <a:spLocks noGrp="1"/>
          </p:cNvSpPr>
          <p:nvPr>
            <p:ph type="body" sz="quarter" idx="13" hasCustomPrompt="1"/>
          </p:nvPr>
        </p:nvSpPr>
        <p:spPr>
          <a:xfrm>
            <a:off x="951161" y="5562601"/>
            <a:ext cx="4992399" cy="404031"/>
          </a:xfrm>
          <a:prstGeom prst="rect">
            <a:avLst/>
          </a:prstGeom>
        </p:spPr>
        <p:txBody>
          <a:bodyPr vert="horz" anchor="ctr"/>
          <a:lstStyle>
            <a:lvl1pPr marL="0" indent="0">
              <a:buNone/>
              <a:defRPr sz="1600" b="1" i="1">
                <a:latin typeface="Garamond" panose="02020404030301010803" pitchFamily="18" charset="0"/>
              </a:defRPr>
            </a:lvl1pPr>
            <a:lvl2pPr marL="586039" indent="0">
              <a:buNone/>
              <a:defRPr sz="1200"/>
            </a:lvl2pPr>
            <a:lvl3pPr marL="1172078" indent="0">
              <a:buNone/>
              <a:defRPr sz="1200"/>
            </a:lvl3pPr>
            <a:lvl4pPr marL="1758117" indent="0">
              <a:buNone/>
              <a:defRPr sz="1200"/>
            </a:lvl4pPr>
            <a:lvl5pPr marL="2344156" indent="0">
              <a:buNone/>
              <a:defRPr sz="1200"/>
            </a:lvl5pPr>
          </a:lstStyle>
          <a:p>
            <a:pPr lvl="0"/>
            <a:r>
              <a:rPr lang="en-US" dirty="0"/>
              <a:t>CLICK TO ADD DATE</a:t>
            </a:r>
          </a:p>
        </p:txBody>
      </p:sp>
    </p:spTree>
    <p:extLst>
      <p:ext uri="{BB962C8B-B14F-4D97-AF65-F5344CB8AC3E}">
        <p14:creationId xmlns:p14="http://schemas.microsoft.com/office/powerpoint/2010/main" val="572727231"/>
      </p:ext>
    </p:extLst>
  </p:cSld>
  <p:clrMapOvr>
    <a:masterClrMapping/>
  </p:clrMapOvr>
  <p:transition spd="slow">
    <p:comb/>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209169BA-FCA3-44A6-9608-DB2F8710FB1C}"/>
              </a:ext>
            </a:extLst>
          </p:cNvPr>
          <p:cNvGraphicFramePr>
            <a:graphicFrameLocks noChangeAspect="1"/>
          </p:cNvGraphicFramePr>
          <p:nvPr userDrawn="1">
            <p:custDataLst>
              <p:tags r:id="rId35"/>
            </p:custDataLst>
            <p:extLst>
              <p:ext uri="{D42A27DB-BD31-4B8C-83A1-F6EECF244321}">
                <p14:modId xmlns:p14="http://schemas.microsoft.com/office/powerpoint/2010/main" val="237259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3007" name="think-cell Slide" r:id="rId36" imgW="421" imgH="423" progId="TCLayout.ActiveDocument.1">
                  <p:embed/>
                </p:oleObj>
              </mc:Choice>
              <mc:Fallback>
                <p:oleObj name="think-cell Slide" r:id="rId36" imgW="421" imgH="423"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025206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spd="slow">
    <p:comb/>
  </p:transition>
  <p:txStyles>
    <p:titleStyle>
      <a:lvl1pPr algn="ctr" defTabSz="1172078" rtl="0" eaLnBrk="1" latinLnBrk="0" hangingPunct="1">
        <a:spcBef>
          <a:spcPct val="0"/>
        </a:spcBef>
        <a:buNone/>
        <a:defRPr sz="5600" kern="1200">
          <a:solidFill>
            <a:schemeClr val="tx1"/>
          </a:solidFill>
          <a:latin typeface="+mj-lt"/>
          <a:ea typeface="+mj-ea"/>
          <a:cs typeface="+mj-cs"/>
        </a:defRPr>
      </a:lvl1pPr>
    </p:titleStyle>
    <p:bodyStyle>
      <a:lvl1pPr marL="439529" indent="-439529" algn="l" defTabSz="1172078" rtl="0" eaLnBrk="1" latinLnBrk="0" hangingPunct="1">
        <a:spcBef>
          <a:spcPct val="20000"/>
        </a:spcBef>
        <a:buFont typeface="Arial" pitchFamily="34" charset="0"/>
        <a:buChar char="•"/>
        <a:defRPr sz="4100" kern="1200">
          <a:solidFill>
            <a:schemeClr val="tx1"/>
          </a:solidFill>
          <a:latin typeface="+mn-lt"/>
          <a:ea typeface="+mn-ea"/>
          <a:cs typeface="+mn-cs"/>
        </a:defRPr>
      </a:lvl1pPr>
      <a:lvl2pPr marL="952313" indent="-366274" algn="l" defTabSz="1172078" rtl="0" eaLnBrk="1" latinLnBrk="0" hangingPunct="1">
        <a:spcBef>
          <a:spcPct val="20000"/>
        </a:spcBef>
        <a:buFont typeface="Arial" pitchFamily="34" charset="0"/>
        <a:buChar char="–"/>
        <a:defRPr sz="3600" kern="1200">
          <a:solidFill>
            <a:schemeClr val="tx1"/>
          </a:solidFill>
          <a:latin typeface="+mn-lt"/>
          <a:ea typeface="+mn-ea"/>
          <a:cs typeface="+mn-cs"/>
        </a:defRPr>
      </a:lvl2pPr>
      <a:lvl3pPr marL="1465097" indent="-293019" algn="l" defTabSz="1172078" rtl="0" eaLnBrk="1" latinLnBrk="0" hangingPunct="1">
        <a:spcBef>
          <a:spcPct val="20000"/>
        </a:spcBef>
        <a:buFont typeface="Arial" pitchFamily="34" charset="0"/>
        <a:buChar char="•"/>
        <a:defRPr sz="3100" kern="1200">
          <a:solidFill>
            <a:schemeClr val="tx1"/>
          </a:solidFill>
          <a:latin typeface="+mn-lt"/>
          <a:ea typeface="+mn-ea"/>
          <a:cs typeface="+mn-cs"/>
        </a:defRPr>
      </a:lvl3pPr>
      <a:lvl4pPr marL="2051136"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4pPr>
      <a:lvl5pPr marL="2637175"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5pPr>
      <a:lvl6pPr marL="3223214"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3809253"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395292"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4981331" indent="-293019" algn="l" defTabSz="1172078" rtl="0" eaLnBrk="1" latinLnBrk="0" hangingPunct="1">
        <a:spcBef>
          <a:spcPct val="20000"/>
        </a:spcBef>
        <a:buFont typeface="Arial" pitchFamily="34" charset="0"/>
        <a:buChar char="•"/>
        <a:defRPr sz="2600" kern="1200">
          <a:solidFill>
            <a:schemeClr val="tx1"/>
          </a:solidFill>
          <a:latin typeface="+mn-lt"/>
          <a:ea typeface="+mn-ea"/>
          <a:cs typeface="+mn-cs"/>
        </a:defRPr>
      </a:lvl9pPr>
    </p:bodyStyle>
    <p:otherStyle>
      <a:defPPr>
        <a:defRPr lang="en-US"/>
      </a:defPPr>
      <a:lvl1pPr marL="0" algn="l" defTabSz="1172078" rtl="0" eaLnBrk="1" latinLnBrk="0" hangingPunct="1">
        <a:defRPr sz="2300" kern="1200">
          <a:solidFill>
            <a:schemeClr val="tx1"/>
          </a:solidFill>
          <a:latin typeface="+mn-lt"/>
          <a:ea typeface="+mn-ea"/>
          <a:cs typeface="+mn-cs"/>
        </a:defRPr>
      </a:lvl1pPr>
      <a:lvl2pPr marL="586039" algn="l" defTabSz="1172078" rtl="0" eaLnBrk="1" latinLnBrk="0" hangingPunct="1">
        <a:defRPr sz="2300" kern="1200">
          <a:solidFill>
            <a:schemeClr val="tx1"/>
          </a:solidFill>
          <a:latin typeface="+mn-lt"/>
          <a:ea typeface="+mn-ea"/>
          <a:cs typeface="+mn-cs"/>
        </a:defRPr>
      </a:lvl2pPr>
      <a:lvl3pPr marL="1172078" algn="l" defTabSz="1172078" rtl="0" eaLnBrk="1" latinLnBrk="0" hangingPunct="1">
        <a:defRPr sz="2300" kern="1200">
          <a:solidFill>
            <a:schemeClr val="tx1"/>
          </a:solidFill>
          <a:latin typeface="+mn-lt"/>
          <a:ea typeface="+mn-ea"/>
          <a:cs typeface="+mn-cs"/>
        </a:defRPr>
      </a:lvl3pPr>
      <a:lvl4pPr marL="1758117" algn="l" defTabSz="1172078" rtl="0" eaLnBrk="1" latinLnBrk="0" hangingPunct="1">
        <a:defRPr sz="2300" kern="1200">
          <a:solidFill>
            <a:schemeClr val="tx1"/>
          </a:solidFill>
          <a:latin typeface="+mn-lt"/>
          <a:ea typeface="+mn-ea"/>
          <a:cs typeface="+mn-cs"/>
        </a:defRPr>
      </a:lvl4pPr>
      <a:lvl5pPr marL="2344156" algn="l" defTabSz="1172078" rtl="0" eaLnBrk="1" latinLnBrk="0" hangingPunct="1">
        <a:defRPr sz="2300" kern="1200">
          <a:solidFill>
            <a:schemeClr val="tx1"/>
          </a:solidFill>
          <a:latin typeface="+mn-lt"/>
          <a:ea typeface="+mn-ea"/>
          <a:cs typeface="+mn-cs"/>
        </a:defRPr>
      </a:lvl5pPr>
      <a:lvl6pPr marL="2930195" algn="l" defTabSz="1172078" rtl="0" eaLnBrk="1" latinLnBrk="0" hangingPunct="1">
        <a:defRPr sz="2300" kern="1200">
          <a:solidFill>
            <a:schemeClr val="tx1"/>
          </a:solidFill>
          <a:latin typeface="+mn-lt"/>
          <a:ea typeface="+mn-ea"/>
          <a:cs typeface="+mn-cs"/>
        </a:defRPr>
      </a:lvl6pPr>
      <a:lvl7pPr marL="3516234" algn="l" defTabSz="1172078" rtl="0" eaLnBrk="1" latinLnBrk="0" hangingPunct="1">
        <a:defRPr sz="2300" kern="1200">
          <a:solidFill>
            <a:schemeClr val="tx1"/>
          </a:solidFill>
          <a:latin typeface="+mn-lt"/>
          <a:ea typeface="+mn-ea"/>
          <a:cs typeface="+mn-cs"/>
        </a:defRPr>
      </a:lvl7pPr>
      <a:lvl8pPr marL="4102273" algn="l" defTabSz="1172078" rtl="0" eaLnBrk="1" latinLnBrk="0" hangingPunct="1">
        <a:defRPr sz="2300" kern="1200">
          <a:solidFill>
            <a:schemeClr val="tx1"/>
          </a:solidFill>
          <a:latin typeface="+mn-lt"/>
          <a:ea typeface="+mn-ea"/>
          <a:cs typeface="+mn-cs"/>
        </a:defRPr>
      </a:lvl8pPr>
      <a:lvl9pPr marL="4688312" algn="l" defTabSz="1172078" rtl="0" eaLnBrk="1" latinLnBrk="0" hangingPunct="1">
        <a:defRPr sz="2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3.xml"/><Relationship Id="rId10" Type="http://schemas.openxmlformats.org/officeDocument/2006/relationships/hyperlink" Target="mailto:ahumuzaignatius@rocketmail.com" TargetMode="External"/><Relationship Id="rId4" Type="http://schemas.openxmlformats.org/officeDocument/2006/relationships/slideLayout" Target="../slideLayouts/slideLayout20.xml"/><Relationship Id="rId9" Type="http://schemas.openxmlformats.org/officeDocument/2006/relationships/hyperlink" Target="https://www.linkedin.com/in/prince-ahumuza-ignatius-26141140/"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anzishaprize.org/fellows/olipah-chomba" TargetMode="External"/><Relationship Id="rId3" Type="http://schemas.openxmlformats.org/officeDocument/2006/relationships/tags" Target="../tags/tag22.xml"/><Relationship Id="rId7" Type="http://schemas.openxmlformats.org/officeDocument/2006/relationships/image" Target="../media/image17.jpe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0.xml"/><Relationship Id="rId9" Type="http://schemas.openxmlformats.org/officeDocument/2006/relationships/hyperlink" Target="mailto:olipahchomba107@gmail.co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10" Type="http://schemas.openxmlformats.org/officeDocument/2006/relationships/hyperlink" Target="mailto:osvaldoreychrysmokouma@gmail.com" TargetMode="External"/><Relationship Id="rId4" Type="http://schemas.openxmlformats.org/officeDocument/2006/relationships/slideLayout" Target="../slideLayouts/slideLayout20.xml"/><Relationship Id="rId9" Type="http://schemas.openxmlformats.org/officeDocument/2006/relationships/hyperlink" Target="http://www.aquagritech.com/"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10" Type="http://schemas.openxmlformats.org/officeDocument/2006/relationships/hyperlink" Target="mailto:usherabbas@gmail.com" TargetMode="External"/><Relationship Id="rId4" Type="http://schemas.openxmlformats.org/officeDocument/2006/relationships/slideLayout" Target="../slideLayouts/slideLayout20.xml"/><Relationship Id="rId9" Type="http://schemas.openxmlformats.org/officeDocument/2006/relationships/hyperlink" Target="https://www.facebook.com/aurateens"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bizkids.com/" TargetMode="External"/><Relationship Id="rId3" Type="http://schemas.openxmlformats.org/officeDocument/2006/relationships/tags" Target="../tags/tag28.xml"/><Relationship Id="rId7" Type="http://schemas.openxmlformats.org/officeDocument/2006/relationships/image" Target="../media/image20.jpe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0.xml"/><Relationship Id="rId9" Type="http://schemas.openxmlformats.org/officeDocument/2006/relationships/hyperlink" Target="mailto:victoriaakinfolarin@gmail.com"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bridgelabs.design/" TargetMode="External"/><Relationship Id="rId3" Type="http://schemas.openxmlformats.org/officeDocument/2006/relationships/tags" Target="../tags/tag30.xml"/><Relationship Id="rId7" Type="http://schemas.openxmlformats.org/officeDocument/2006/relationships/image" Target="../media/image21.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0.xml"/><Relationship Id="rId9" Type="http://schemas.openxmlformats.org/officeDocument/2006/relationships/hyperlink" Target="mailto:kola@bridgelabs.design"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www.linkedin.com/in/emmanuel-owusu-agyei-ampem-b64693117/" TargetMode="External"/><Relationship Id="rId3" Type="http://schemas.openxmlformats.org/officeDocument/2006/relationships/tags" Target="../tags/tag32.xml"/><Relationship Id="rId7" Type="http://schemas.openxmlformats.org/officeDocument/2006/relationships/image" Target="../media/image22.jpe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0.xml"/><Relationship Id="rId9" Type="http://schemas.openxmlformats.org/officeDocument/2006/relationships/slide" Target="slide34.xml"/></Relationships>
</file>

<file path=ppt/slides/_rels/slide17.xml.rels><?xml version="1.0" encoding="UTF-8" standalone="yes"?>
<Relationships xmlns="http://schemas.openxmlformats.org/package/2006/relationships"><Relationship Id="rId8" Type="http://schemas.openxmlformats.org/officeDocument/2006/relationships/hyperlink" Target="https://www.linkedin.com/in/velache-coker-00a808195/" TargetMode="External"/><Relationship Id="rId3" Type="http://schemas.openxmlformats.org/officeDocument/2006/relationships/tags" Target="../tags/tag34.xml"/><Relationship Id="rId7" Type="http://schemas.openxmlformats.org/officeDocument/2006/relationships/image" Target="../media/image23.jpe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0.xml"/><Relationship Id="rId9" Type="http://schemas.openxmlformats.org/officeDocument/2006/relationships/hyperlink" Target="mailto:Cannan.farm@yahoo.com"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6.xml"/><Relationship Id="rId10" Type="http://schemas.openxmlformats.org/officeDocument/2006/relationships/hyperlink" Target="mailto:persandjessan@gmail.com" TargetMode="External"/><Relationship Id="rId4" Type="http://schemas.openxmlformats.org/officeDocument/2006/relationships/slideLayout" Target="../slideLayouts/slideLayout20.xml"/><Relationship Id="rId9" Type="http://schemas.openxmlformats.org/officeDocument/2006/relationships/hyperlink" Target="https://www.linkedin.com/in/jessan-kumar-persand-41b530150/"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dignifiedwear.com/" TargetMode="External"/><Relationship Id="rId3" Type="http://schemas.openxmlformats.org/officeDocument/2006/relationships/tags" Target="../tags/tag38.xml"/><Relationship Id="rId7" Type="http://schemas.openxmlformats.org/officeDocument/2006/relationships/image" Target="../media/image25.jp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20.xml"/><Relationship Id="rId9" Type="http://schemas.openxmlformats.org/officeDocument/2006/relationships/hyperlink" Target="mailto:mabels@dignifiedwear.com" TargetMode="Externa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hyperlink" Target="https://ecomakaa.com/" TargetMode="External"/><Relationship Id="rId3" Type="http://schemas.openxmlformats.org/officeDocument/2006/relationships/tags" Target="../tags/tag40.xml"/><Relationship Id="rId7" Type="http://schemas.openxmlformats.org/officeDocument/2006/relationships/image" Target="../media/image26.jpe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20.xml"/><Relationship Id="rId9" Type="http://schemas.openxmlformats.org/officeDocument/2006/relationships/hyperlink" Target="mailto:Emailchikezie.cecil@yahoo.com"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s://www.linkedin.com/in/yaye-souadou-fall-b0ab8110b/" TargetMode="External"/><Relationship Id="rId3" Type="http://schemas.openxmlformats.org/officeDocument/2006/relationships/tags" Target="../tags/tag42.xml"/><Relationship Id="rId7" Type="http://schemas.openxmlformats.org/officeDocument/2006/relationships/image" Target="../media/image27.jpe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20.xml"/><Relationship Id="rId9" Type="http://schemas.openxmlformats.org/officeDocument/2006/relationships/slide" Target="slide15.xml"/></Relationships>
</file>

<file path=ppt/slides/_rels/slide22.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7.xml"/><Relationship Id="rId10" Type="http://schemas.openxmlformats.org/officeDocument/2006/relationships/hyperlink" Target="mailto:fabricealomo@gmail.com" TargetMode="External"/><Relationship Id="rId4" Type="http://schemas.openxmlformats.org/officeDocument/2006/relationships/slideLayout" Target="../slideLayouts/slideLayout20.xml"/><Relationship Id="rId9" Type="http://schemas.openxmlformats.org/officeDocument/2006/relationships/hyperlink" Target="https://epher.services/epherfoundation"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e3dniger.com/" TargetMode="External"/><Relationship Id="rId3" Type="http://schemas.openxmlformats.org/officeDocument/2006/relationships/tags" Target="../tags/tag46.xml"/><Relationship Id="rId7" Type="http://schemas.openxmlformats.org/officeDocument/2006/relationships/image" Target="../media/image29.jpe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20.xml"/><Relationship Id="rId9" Type="http://schemas.openxmlformats.org/officeDocument/2006/relationships/hyperlink" Target="mailto:info@e3dniger.com"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www.facebook.com/farmersforte237" TargetMode="External"/><Relationship Id="rId3" Type="http://schemas.openxmlformats.org/officeDocument/2006/relationships/tags" Target="../tags/tag48.xml"/><Relationship Id="rId7" Type="http://schemas.openxmlformats.org/officeDocument/2006/relationships/image" Target="../media/image30.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20.xml"/><Relationship Id="rId9" Type="http://schemas.openxmlformats.org/officeDocument/2006/relationships/slide" Target="slide17.xml"/></Relationships>
</file>

<file path=ppt/slides/_rels/slide25.xml.rels><?xml version="1.0" encoding="UTF-8" standalone="yes"?>
<Relationships xmlns="http://schemas.openxmlformats.org/package/2006/relationships"><Relationship Id="rId8" Type="http://schemas.openxmlformats.org/officeDocument/2006/relationships/hyperlink" Target="https://www.linkedin.com/in/kevin-kibet-mochama-29b8ba145/" TargetMode="External"/><Relationship Id="rId3" Type="http://schemas.openxmlformats.org/officeDocument/2006/relationships/tags" Target="../tags/tag50.xml"/><Relationship Id="rId7" Type="http://schemas.openxmlformats.org/officeDocument/2006/relationships/image" Target="../media/image31.jpe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0.xml"/><Relationship Id="rId9" Type="http://schemas.openxmlformats.org/officeDocument/2006/relationships/hyperlink" Target="mailto:kkm@farmmoja.org"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www.linkedin.com/in/heritiaina-fabien-randriamananatahina-26544416b/" TargetMode="External"/><Relationship Id="rId3" Type="http://schemas.openxmlformats.org/officeDocument/2006/relationships/tags" Target="../tags/tag52.xml"/><Relationship Id="rId7" Type="http://schemas.openxmlformats.org/officeDocument/2006/relationships/image" Target="../media/image32.jp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0.xml"/><Relationship Id="rId9" Type="http://schemas.openxmlformats.org/officeDocument/2006/relationships/hyperlink" Target="mailto:randriamananatahina.fabien@gmail.com"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www.fixchap.com/" TargetMode="External"/><Relationship Id="rId3" Type="http://schemas.openxmlformats.org/officeDocument/2006/relationships/tags" Target="../tags/tag54.xml"/><Relationship Id="rId7" Type="http://schemas.openxmlformats.org/officeDocument/2006/relationships/image" Target="../media/image33.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20.xml"/><Relationship Id="rId9" Type="http://schemas.openxmlformats.org/officeDocument/2006/relationships/hyperlink" Target="mailto:info@fixchap.com"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www.linkedin.com/in/rebecca-andrianarisandy-784b66199" TargetMode="External"/><Relationship Id="rId3" Type="http://schemas.openxmlformats.org/officeDocument/2006/relationships/tags" Target="../tags/tag56.xml"/><Relationship Id="rId7" Type="http://schemas.openxmlformats.org/officeDocument/2006/relationships/image" Target="../media/image34.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Layout" Target="../slideLayouts/slideLayout20.xml"/><Relationship Id="rId9" Type="http://schemas.openxmlformats.org/officeDocument/2006/relationships/slide" Target="slide13.xml"/></Relationships>
</file>

<file path=ppt/slides/_rels/slide29.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8.xml"/><Relationship Id="rId10" Type="http://schemas.openxmlformats.org/officeDocument/2006/relationships/hyperlink" Target="mailto:christes7@gmail.com" TargetMode="External"/><Relationship Id="rId4" Type="http://schemas.openxmlformats.org/officeDocument/2006/relationships/slideLayout" Target="../slideLayouts/slideLayout20.xml"/><Relationship Id="rId9" Type="http://schemas.openxmlformats.org/officeDocument/2006/relationships/hyperlink" Target="https://www.linkedin.com/in/christian-tesfaye-41213abb/" TargetMode="Externa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9.xml"/><Relationship Id="rId10" Type="http://schemas.openxmlformats.org/officeDocument/2006/relationships/hyperlink" Target="mailto:godiragetse@goodietutors.co.za" TargetMode="External"/><Relationship Id="rId4" Type="http://schemas.openxmlformats.org/officeDocument/2006/relationships/slideLayout" Target="../slideLayouts/slideLayout20.xml"/><Relationship Id="rId9" Type="http://schemas.openxmlformats.org/officeDocument/2006/relationships/hyperlink" Target="http://goodietutors.co.za/"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0.xml"/><Relationship Id="rId10" Type="http://schemas.openxmlformats.org/officeDocument/2006/relationships/hyperlink" Target="mailto:edgaredmund424@gmail.com" TargetMode="External"/><Relationship Id="rId4" Type="http://schemas.openxmlformats.org/officeDocument/2006/relationships/slideLayout" Target="../slideLayouts/slideLayout20.xml"/><Relationship Id="rId9" Type="http://schemas.openxmlformats.org/officeDocument/2006/relationships/hyperlink" Target="http://www.greenventuretz.com/"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xml"/><Relationship Id="rId7" Type="http://schemas.openxmlformats.org/officeDocument/2006/relationships/oleObject" Target="../embeddings/oleObject32.bin"/><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37.jpg"/><Relationship Id="rId11" Type="http://schemas.openxmlformats.org/officeDocument/2006/relationships/image" Target="../media/image38.jpeg"/><Relationship Id="rId5" Type="http://schemas.openxmlformats.org/officeDocument/2006/relationships/notesSlide" Target="../notesSlides/notesSlide11.xml"/><Relationship Id="rId10" Type="http://schemas.openxmlformats.org/officeDocument/2006/relationships/hyperlink" Target="mailto:Ludwickm@drybathgel.com" TargetMode="External"/><Relationship Id="rId4" Type="http://schemas.openxmlformats.org/officeDocument/2006/relationships/slideLayout" Target="../slideLayouts/slideLayout20.xml"/><Relationship Id="rId9" Type="http://schemas.openxmlformats.org/officeDocument/2006/relationships/hyperlink" Target="http://www.drybathgel.com/"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www.giftedmom.org/" TargetMode="External"/><Relationship Id="rId3" Type="http://schemas.openxmlformats.org/officeDocument/2006/relationships/tags" Target="../tags/tag66.xml"/><Relationship Id="rId7" Type="http://schemas.openxmlformats.org/officeDocument/2006/relationships/image" Target="../media/image39.jfi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Layout" Target="../slideLayouts/slideLayout20.xml"/><Relationship Id="rId9" Type="http://schemas.openxmlformats.org/officeDocument/2006/relationships/hyperlink" Target="mailto:nteffal@gmail.com" TargetMode="External"/></Relationships>
</file>

<file path=ppt/slides/_rels/slide34.xml.rels><?xml version="1.0" encoding="UTF-8" standalone="yes"?>
<Relationships xmlns="http://schemas.openxmlformats.org/package/2006/relationships"><Relationship Id="rId8" Type="http://schemas.openxmlformats.org/officeDocument/2006/relationships/hyperlink" Target="https://hellomushrooms.org/" TargetMode="External"/><Relationship Id="rId3" Type="http://schemas.openxmlformats.org/officeDocument/2006/relationships/tags" Target="../tags/tag68.xml"/><Relationship Id="rId7" Type="http://schemas.openxmlformats.org/officeDocument/2006/relationships/image" Target="../media/image40.jfi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Layout" Target="../slideLayouts/slideLayout20.xml"/><Relationship Id="rId9" Type="http://schemas.openxmlformats.org/officeDocument/2006/relationships/hyperlink" Target="mailto:kislop@ymail.com"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thehousinghub.co.zw/" TargetMode="External"/><Relationship Id="rId3" Type="http://schemas.openxmlformats.org/officeDocument/2006/relationships/tags" Target="../tags/tag70.xml"/><Relationship Id="rId7" Type="http://schemas.openxmlformats.org/officeDocument/2006/relationships/image" Target="../media/image41.jpeg"/><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20.xml"/><Relationship Id="rId9" Type="http://schemas.openxmlformats.org/officeDocument/2006/relationships/hyperlink" Target="mailto:marvellousnyongoro@gmail.com" TargetMode="External"/></Relationships>
</file>

<file path=ppt/slides/_rels/slide36.xml.rels><?xml version="1.0" encoding="UTF-8" standalone="yes"?>
<Relationships xmlns="http://schemas.openxmlformats.org/package/2006/relationships"><Relationship Id="rId8" Type="http://schemas.openxmlformats.org/officeDocument/2006/relationships/hyperlink" Target="https://hudumasmart.co.tz/" TargetMode="External"/><Relationship Id="rId3" Type="http://schemas.openxmlformats.org/officeDocument/2006/relationships/tags" Target="../tags/tag72.xml"/><Relationship Id="rId7" Type="http://schemas.openxmlformats.org/officeDocument/2006/relationships/image" Target="../media/image42.jpg"/><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Layout" Target="../slideLayouts/slideLayout20.xml"/><Relationship Id="rId9" Type="http://schemas.openxmlformats.org/officeDocument/2006/relationships/hyperlink" Target="mailto:balbinagullam@gmail.com"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2.xml"/><Relationship Id="rId10" Type="http://schemas.openxmlformats.org/officeDocument/2006/relationships/hyperlink" Target="mailto:fadwamoussaif95@gmail.com" TargetMode="External"/><Relationship Id="rId4" Type="http://schemas.openxmlformats.org/officeDocument/2006/relationships/slideLayout" Target="../slideLayouts/slideLayout20.xml"/><Relationship Id="rId9" Type="http://schemas.openxmlformats.org/officeDocument/2006/relationships/hyperlink" Target="https://www.linkedin.com/in/fadwa-moussaif-294373121/" TargetMode="External"/></Relationships>
</file>

<file path=ppt/slides/_rels/slide38.xml.rels><?xml version="1.0" encoding="UTF-8" standalone="yes"?>
<Relationships xmlns="http://schemas.openxmlformats.org/package/2006/relationships"><Relationship Id="rId8" Type="http://schemas.openxmlformats.org/officeDocument/2006/relationships/hyperlink" Target="https://infiuss.org/" TargetMode="External"/><Relationship Id="rId3" Type="http://schemas.openxmlformats.org/officeDocument/2006/relationships/tags" Target="../tags/tag76.xml"/><Relationship Id="rId7" Type="http://schemas.openxmlformats.org/officeDocument/2006/relationships/image" Target="../media/image44.png"/><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20.xml"/><Relationship Id="rId9" Type="http://schemas.openxmlformats.org/officeDocument/2006/relationships/hyperlink" Target="mailto:mjbime@infiuss.org"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annobilcaleb.wixsite.com/iyclifecompany" TargetMode="External"/><Relationship Id="rId3" Type="http://schemas.openxmlformats.org/officeDocument/2006/relationships/tags" Target="../tags/tag78.xml"/><Relationship Id="rId7" Type="http://schemas.openxmlformats.org/officeDocument/2006/relationships/image" Target="../media/image45.jpeg"/><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Layout" Target="../slideLayouts/slideLayout20.xml"/><Relationship Id="rId9" Type="http://schemas.openxmlformats.org/officeDocument/2006/relationships/hyperlink" Target="mailto:annobilcaleb@gmail.com"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0.jfif"/><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10" Type="http://schemas.openxmlformats.org/officeDocument/2006/relationships/slide" Target="slide4.xml"/><Relationship Id="rId4" Type="http://schemas.openxmlformats.org/officeDocument/2006/relationships/slideLayout" Target="../slideLayouts/slideLayout20.xml"/><Relationship Id="rId9" Type="http://schemas.openxmlformats.org/officeDocument/2006/relationships/hyperlink" Target="https://instagram.com/2doon2018" TargetMode="External"/></Relationships>
</file>

<file path=ppt/slides/_rels/slide40.xml.rels><?xml version="1.0" encoding="UTF-8" standalone="yes"?>
<Relationships xmlns="http://schemas.openxmlformats.org/package/2006/relationships"><Relationship Id="rId8" Type="http://schemas.openxmlformats.org/officeDocument/2006/relationships/hyperlink" Target="https://twitter.com/JallowFarm" TargetMode="External"/><Relationship Id="rId3" Type="http://schemas.openxmlformats.org/officeDocument/2006/relationships/tags" Target="../tags/tag80.xml"/><Relationship Id="rId7" Type="http://schemas.openxmlformats.org/officeDocument/2006/relationships/image" Target="../media/image46.jpeg"/><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Layout" Target="../slideLayouts/slideLayout20.xml"/><Relationship Id="rId9" Type="http://schemas.openxmlformats.org/officeDocument/2006/relationships/hyperlink" Target="mailto:jallowtradingvegetablefarm@gmail.com" TargetMode="External"/></Relationships>
</file>

<file path=ppt/slides/_rels/slide41.xml.rels><?xml version="1.0" encoding="UTF-8" standalone="yes"?>
<Relationships xmlns="http://schemas.openxmlformats.org/package/2006/relationships"><Relationship Id="rId8" Type="http://schemas.openxmlformats.org/officeDocument/2006/relationships/hyperlink" Target="https://www.jidar.ma/" TargetMode="External"/><Relationship Id="rId3" Type="http://schemas.openxmlformats.org/officeDocument/2006/relationships/tags" Target="../tags/tag82.xml"/><Relationship Id="rId7" Type="http://schemas.openxmlformats.org/officeDocument/2006/relationships/image" Target="../media/image47.png"/><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20.xml"/><Relationship Id="rId9" Type="http://schemas.openxmlformats.org/officeDocument/2006/relationships/hyperlink" Target="mailto:farahemara@jidarwallart.com" TargetMode="External"/></Relationships>
</file>

<file path=ppt/slides/_rels/slide42.xml.rels><?xml version="1.0" encoding="UTF-8" standalone="yes"?>
<Relationships xmlns="http://schemas.openxmlformats.org/package/2006/relationships"><Relationship Id="rId8" Type="http://schemas.openxmlformats.org/officeDocument/2006/relationships/hyperlink" Target="https://facebook.com/KawanAfrica" TargetMode="External"/><Relationship Id="rId3" Type="http://schemas.openxmlformats.org/officeDocument/2006/relationships/tags" Target="../tags/tag84.xml"/><Relationship Id="rId7" Type="http://schemas.openxmlformats.org/officeDocument/2006/relationships/image" Target="../media/image48.jpeg"/><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Layout" Target="../slideLayouts/slideLayout20.xml"/><Relationship Id="rId9" Type="http://schemas.openxmlformats.org/officeDocument/2006/relationships/hyperlink" Target="mailto:kawanafrica@gmail.com" TargetMode="External"/></Relationships>
</file>

<file path=ppt/slides/_rels/slide43.xml.rels><?xml version="1.0" encoding="UTF-8" standalone="yes"?>
<Relationships xmlns="http://schemas.openxmlformats.org/package/2006/relationships"><Relationship Id="rId8" Type="http://schemas.openxmlformats.org/officeDocument/2006/relationships/hyperlink" Target="https://www.linkedin.com/in/yannick-kimanuka-b864b5192/" TargetMode="External"/><Relationship Id="rId3" Type="http://schemas.openxmlformats.org/officeDocument/2006/relationships/tags" Target="../tags/tag86.xml"/><Relationship Id="rId7" Type="http://schemas.openxmlformats.org/officeDocument/2006/relationships/image" Target="../media/image49.jpeg"/><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Layout" Target="../slideLayouts/slideLayout20.xml"/><Relationship Id="rId9" Type="http://schemas.openxmlformats.org/officeDocument/2006/relationships/hyperlink" Target="mailto:yannickkims5@gmail.com" TargetMode="External"/></Relationships>
</file>

<file path=ppt/slides/_rels/slide44.xml.rels><?xml version="1.0" encoding="UTF-8" standalone="yes"?>
<Relationships xmlns="http://schemas.openxmlformats.org/package/2006/relationships"><Relationship Id="rId8" Type="http://schemas.openxmlformats.org/officeDocument/2006/relationships/hyperlink" Target="https://www.khula.com/" TargetMode="External"/><Relationship Id="rId3" Type="http://schemas.openxmlformats.org/officeDocument/2006/relationships/tags" Target="../tags/tag88.xml"/><Relationship Id="rId7" Type="http://schemas.openxmlformats.org/officeDocument/2006/relationships/image" Target="../media/image50.jfif"/><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Layout" Target="../slideLayouts/slideLayout20.xml"/><Relationship Id="rId9" Type="http://schemas.openxmlformats.org/officeDocument/2006/relationships/hyperlink" Target="mailto:karidast@khula.com" TargetMode="External"/></Relationships>
</file>

<file path=ppt/slides/_rels/slide45.xml.rels><?xml version="1.0" encoding="UTF-8" standalone="yes"?>
<Relationships xmlns="http://schemas.openxmlformats.org/package/2006/relationships"><Relationship Id="rId8" Type="http://schemas.openxmlformats.org/officeDocument/2006/relationships/hyperlink" Target="https://www.lagare.ma/" TargetMode="External"/><Relationship Id="rId3" Type="http://schemas.openxmlformats.org/officeDocument/2006/relationships/tags" Target="../tags/tag90.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Layout" Target="../slideLayouts/slideLayout20.xml"/><Relationship Id="rId9" Type="http://schemas.openxmlformats.org/officeDocument/2006/relationships/slide" Target="slide9.xml"/></Relationships>
</file>

<file path=ppt/slides/_rels/slide46.xml.rels><?xml version="1.0" encoding="UTF-8" standalone="yes"?>
<Relationships xmlns="http://schemas.openxmlformats.org/package/2006/relationships"><Relationship Id="rId8" Type="http://schemas.openxmlformats.org/officeDocument/2006/relationships/hyperlink" Target="mailto:lourenabundi@gmail.com" TargetMode="External"/><Relationship Id="rId3" Type="http://schemas.openxmlformats.org/officeDocument/2006/relationships/tags" Target="../tags/tag92.xml"/><Relationship Id="rId7" Type="http://schemas.openxmlformats.org/officeDocument/2006/relationships/image" Target="../media/image52.jpg"/><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8" Type="http://schemas.openxmlformats.org/officeDocument/2006/relationships/hyperlink" Target="https://www.linkedin.com/in/jesse-forrester" TargetMode="External"/><Relationship Id="rId3" Type="http://schemas.openxmlformats.org/officeDocument/2006/relationships/tags" Target="../tags/tag94.xml"/><Relationship Id="rId7" Type="http://schemas.openxmlformats.org/officeDocument/2006/relationships/image" Target="../media/image53.jfif"/><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Layout" Target="../slideLayouts/slideLayout20.xml"/><Relationship Id="rId9" Type="http://schemas.openxmlformats.org/officeDocument/2006/relationships/hyperlink" Target="mailto:Jesse.forrrester@gmail.com"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3.xml"/><Relationship Id="rId10" Type="http://schemas.openxmlformats.org/officeDocument/2006/relationships/hyperlink" Target="mailto:ddembe.andrew@gmail.com" TargetMode="External"/><Relationship Id="rId4" Type="http://schemas.openxmlformats.org/officeDocument/2006/relationships/slideLayout" Target="../slideLayouts/slideLayout20.xml"/><Relationship Id="rId9" Type="http://schemas.openxmlformats.org/officeDocument/2006/relationships/hyperlink" Target="https://ug.linkedin.com/in/andrew-ddembe-a55524124" TargetMode="External"/></Relationships>
</file>

<file path=ppt/slides/_rels/slide49.xml.rels><?xml version="1.0" encoding="UTF-8" standalone="yes"?>
<Relationships xmlns="http://schemas.openxmlformats.org/package/2006/relationships"><Relationship Id="rId8" Type="http://schemas.openxmlformats.org/officeDocument/2006/relationships/hyperlink" Target="https://youtu.be/XRnnpsLnY3o" TargetMode="External"/><Relationship Id="rId3" Type="http://schemas.openxmlformats.org/officeDocument/2006/relationships/tags" Target="../tags/tag98.xml"/><Relationship Id="rId7" Type="http://schemas.openxmlformats.org/officeDocument/2006/relationships/image" Target="../media/image55.png"/><Relationship Id="rId2" Type="http://schemas.openxmlformats.org/officeDocument/2006/relationships/tags" Target="../tags/tag97.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Layout" Target="../slideLayouts/slideLayout20.xml"/><Relationship Id="rId9" Type="http://schemas.openxmlformats.org/officeDocument/2006/relationships/hyperlink" Target="mailto:noah.walakira@gmail.com"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www.africanstorytellers.com/" TargetMode="External"/><Relationship Id="rId3" Type="http://schemas.openxmlformats.org/officeDocument/2006/relationships/tags" Target="../tags/tag10.xml"/><Relationship Id="rId7" Type="http://schemas.openxmlformats.org/officeDocument/2006/relationships/image" Target="../media/image11.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0.xml"/><Relationship Id="rId9" Type="http://schemas.openxmlformats.org/officeDocument/2006/relationships/hyperlink" Target="mailto:ioboth@africanstorytellers.com" TargetMode="External"/></Relationships>
</file>

<file path=ppt/slides/_rels/slide50.xml.rels><?xml version="1.0" encoding="UTF-8" standalone="yes"?>
<Relationships xmlns="http://schemas.openxmlformats.org/package/2006/relationships"><Relationship Id="rId8" Type="http://schemas.openxmlformats.org/officeDocument/2006/relationships/hyperlink" Target="https://naznaturals.com/" TargetMode="External"/><Relationship Id="rId3" Type="http://schemas.openxmlformats.org/officeDocument/2006/relationships/tags" Target="../tags/tag100.xml"/><Relationship Id="rId7" Type="http://schemas.openxmlformats.org/officeDocument/2006/relationships/image" Target="../media/image56.png"/><Relationship Id="rId2" Type="http://schemas.openxmlformats.org/officeDocument/2006/relationships/tags" Target="../tags/tag99.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20.xml"/><Relationship Id="rId9" Type="http://schemas.openxmlformats.org/officeDocument/2006/relationships/slide" Target="slide68.xml"/></Relationships>
</file>

<file path=ppt/slides/_rels/slide51.xml.rels><?xml version="1.0" encoding="UTF-8" standalone="yes"?>
<Relationships xmlns="http://schemas.openxmlformats.org/package/2006/relationships"><Relationship Id="rId8" Type="http://schemas.openxmlformats.org/officeDocument/2006/relationships/hyperlink" Target="https://nisafinance.com/" TargetMode="External"/><Relationship Id="rId3" Type="http://schemas.openxmlformats.org/officeDocument/2006/relationships/tags" Target="../tags/tag102.xml"/><Relationship Id="rId7" Type="http://schemas.openxmlformats.org/officeDocument/2006/relationships/image" Target="../media/image57.jfif"/><Relationship Id="rId2" Type="http://schemas.openxmlformats.org/officeDocument/2006/relationships/tags" Target="../tags/tag101.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20.xml"/><Relationship Id="rId9" Type="http://schemas.openxmlformats.org/officeDocument/2006/relationships/hyperlink" Target="mailto:thandolwethumz@live.com" TargetMode="External"/></Relationships>
</file>

<file path=ppt/slides/_rels/slide52.xml.rels><?xml version="1.0" encoding="UTF-8" standalone="yes"?>
<Relationships xmlns="http://schemas.openxmlformats.org/package/2006/relationships"><Relationship Id="rId8" Type="http://schemas.openxmlformats.org/officeDocument/2006/relationships/hyperlink" Target="https://facebook.com/novaagrisystems" TargetMode="External"/><Relationship Id="rId3" Type="http://schemas.openxmlformats.org/officeDocument/2006/relationships/tags" Target="../tags/tag104.xml"/><Relationship Id="rId7" Type="http://schemas.openxmlformats.org/officeDocument/2006/relationships/image" Target="../media/image58.png"/><Relationship Id="rId2" Type="http://schemas.openxmlformats.org/officeDocument/2006/relationships/tags" Target="../tags/tag103.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Layout" Target="../slideLayouts/slideLayout20.xml"/><Relationship Id="rId9" Type="http://schemas.openxmlformats.org/officeDocument/2006/relationships/hyperlink" Target="mailto:ampofo.bka@gmail.com" TargetMode="External"/></Relationships>
</file>

<file path=ppt/slides/_rels/slide53.xml.rels><?xml version="1.0" encoding="UTF-8" standalone="yes"?>
<Relationships xmlns="http://schemas.openxmlformats.org/package/2006/relationships"><Relationship Id="rId8" Type="http://schemas.openxmlformats.org/officeDocument/2006/relationships/hyperlink" Target="https://patasente.com/" TargetMode="External"/><Relationship Id="rId3" Type="http://schemas.openxmlformats.org/officeDocument/2006/relationships/tags" Target="../tags/tag106.xml"/><Relationship Id="rId7" Type="http://schemas.openxmlformats.org/officeDocument/2006/relationships/image" Target="../media/image59.jfif"/><Relationship Id="rId2" Type="http://schemas.openxmlformats.org/officeDocument/2006/relationships/tags" Target="../tags/tag105.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Layout" Target="../slideLayouts/slideLayout20.xml"/><Relationship Id="rId9" Type="http://schemas.openxmlformats.org/officeDocument/2006/relationships/hyperlink" Target="mailto:bakkarian@patasente.com" TargetMode="External"/></Relationships>
</file>

<file path=ppt/slides/_rels/slide54.xml.rels><?xml version="1.0" encoding="UTF-8" standalone="yes"?>
<Relationships xmlns="http://schemas.openxmlformats.org/package/2006/relationships"><Relationship Id="rId8" Type="http://schemas.openxmlformats.org/officeDocument/2006/relationships/image" Target="../media/image60.jpg"/><Relationship Id="rId3" Type="http://schemas.openxmlformats.org/officeDocument/2006/relationships/tags" Target="../tags/tag108.xml"/><Relationship Id="rId7" Type="http://schemas.openxmlformats.org/officeDocument/2006/relationships/image" Target="../media/image1.emf"/><Relationship Id="rId2" Type="http://schemas.openxmlformats.org/officeDocument/2006/relationships/tags" Target="../tags/tag107.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14.xml"/><Relationship Id="rId10" Type="http://schemas.openxmlformats.org/officeDocument/2006/relationships/slide" Target="slide27.xml"/><Relationship Id="rId4" Type="http://schemas.openxmlformats.org/officeDocument/2006/relationships/slideLayout" Target="../slideLayouts/slideLayout20.xml"/><Relationship Id="rId9" Type="http://schemas.openxmlformats.org/officeDocument/2006/relationships/hyperlink" Target="https://prepclass.com.ng/"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5.xml"/><Relationship Id="rId1" Type="http://schemas.openxmlformats.org/officeDocument/2006/relationships/slideLayout" Target="../slideLayouts/slideLayout20.xml"/><Relationship Id="rId5" Type="http://schemas.openxmlformats.org/officeDocument/2006/relationships/hyperlink" Target="mailto:dempseymorfaw@yahoo.com" TargetMode="External"/><Relationship Id="rId4" Type="http://schemas.openxmlformats.org/officeDocument/2006/relationships/hyperlink" Target="http://www.poultvault.com/" TargetMode="External"/></Relationships>
</file>

<file path=ppt/slides/_rels/slide56.xml.rels><?xml version="1.0" encoding="UTF-8" standalone="yes"?>
<Relationships xmlns="http://schemas.openxmlformats.org/package/2006/relationships"><Relationship Id="rId8" Type="http://schemas.openxmlformats.org/officeDocument/2006/relationships/hyperlink" Target="https://www.remoteplatz.com/" TargetMode="External"/><Relationship Id="rId3" Type="http://schemas.openxmlformats.org/officeDocument/2006/relationships/tags" Target="../tags/tag110.xml"/><Relationship Id="rId7" Type="http://schemas.openxmlformats.org/officeDocument/2006/relationships/image" Target="../media/image62.jpg"/><Relationship Id="rId2" Type="http://schemas.openxmlformats.org/officeDocument/2006/relationships/tags" Target="../tags/tag109.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10" Type="http://schemas.openxmlformats.org/officeDocument/2006/relationships/slide" Target="slide56.xml"/><Relationship Id="rId4" Type="http://schemas.openxmlformats.org/officeDocument/2006/relationships/slideLayout" Target="../slideLayouts/slideLayout20.xml"/><Relationship Id="rId9" Type="http://schemas.openxmlformats.org/officeDocument/2006/relationships/hyperlink" Target="mailto:raghdamadhat12@gmail.com"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s://www.facebook.com/Ribla-Neda-Burkina-Sarl-453348081867611/" TargetMode="External"/><Relationship Id="rId2" Type="http://schemas.openxmlformats.org/officeDocument/2006/relationships/image" Target="../media/image63.jpeg"/><Relationship Id="rId1" Type="http://schemas.openxmlformats.org/officeDocument/2006/relationships/slideLayout" Target="../slideLayouts/slideLayout20.xml"/><Relationship Id="rId4" Type="http://schemas.openxmlformats.org/officeDocument/2006/relationships/hyperlink" Target="mailto:kombavongoethe@hotmail.fr"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ride-link.com/" TargetMode="External"/><Relationship Id="rId3" Type="http://schemas.openxmlformats.org/officeDocument/2006/relationships/tags" Target="../tags/tag112.xml"/><Relationship Id="rId7" Type="http://schemas.openxmlformats.org/officeDocument/2006/relationships/image" Target="../media/image64.png"/><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Layout" Target="../slideLayouts/slideLayout20.xml"/><Relationship Id="rId9" Type="http://schemas.openxmlformats.org/officeDocument/2006/relationships/slide" Target="slide58.xml"/></Relationships>
</file>

<file path=ppt/slides/_rels/slide59.xml.rels><?xml version="1.0" encoding="UTF-8" standalone="yes"?>
<Relationships xmlns="http://schemas.openxmlformats.org/package/2006/relationships"><Relationship Id="rId8" Type="http://schemas.openxmlformats.org/officeDocument/2006/relationships/hyperlink" Target="https://therubiqube.com/" TargetMode="External"/><Relationship Id="rId3" Type="http://schemas.openxmlformats.org/officeDocument/2006/relationships/tags" Target="../tags/tag114.xml"/><Relationship Id="rId7" Type="http://schemas.openxmlformats.org/officeDocument/2006/relationships/image" Target="../media/image65.png"/><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Layout" Target="../slideLayouts/slideLayout20.xml"/><Relationship Id="rId9" Type="http://schemas.openxmlformats.org/officeDocument/2006/relationships/hyperlink" Target="mailto:mahmood@therubiqube.com"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www.linkedin.com/in/kondwani-banda-aa7a59140/" TargetMode="External"/><Relationship Id="rId3" Type="http://schemas.openxmlformats.org/officeDocument/2006/relationships/tags" Target="../tags/tag12.xml"/><Relationship Id="rId7" Type="http://schemas.openxmlformats.org/officeDocument/2006/relationships/image" Target="../media/image12.jp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0.xml"/><Relationship Id="rId9" Type="http://schemas.openxmlformats.org/officeDocument/2006/relationships/hyperlink" Target="mailto:khondwanijounalism@gmail.com" TargetMode="External"/></Relationships>
</file>

<file path=ppt/slides/_rels/slide60.xml.rels><?xml version="1.0" encoding="UTF-8" standalone="yes"?>
<Relationships xmlns="http://schemas.openxmlformats.org/package/2006/relationships"><Relationship Id="rId8" Type="http://schemas.openxmlformats.org/officeDocument/2006/relationships/hyperlink" Target="https://facebook.com/Rugsal" TargetMode="External"/><Relationship Id="rId3" Type="http://schemas.openxmlformats.org/officeDocument/2006/relationships/tags" Target="../tags/tag116.xml"/><Relationship Id="rId7" Type="http://schemas.openxmlformats.org/officeDocument/2006/relationships/image" Target="../media/image66.jfif"/><Relationship Id="rId2" Type="http://schemas.openxmlformats.org/officeDocument/2006/relationships/tags" Target="../tags/tag115.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Layout" Target="../slideLayouts/slideLayout20.xml"/><Relationship Id="rId9" Type="http://schemas.openxmlformats.org/officeDocument/2006/relationships/hyperlink" Target="mailto:rugsaltrading2017@gmail.com" TargetMode="External"/></Relationships>
</file>

<file path=ppt/slides/_rels/slide61.xml.rels><?xml version="1.0" encoding="UTF-8" standalone="yes"?>
<Relationships xmlns="http://schemas.openxmlformats.org/package/2006/relationships"><Relationship Id="rId8" Type="http://schemas.openxmlformats.org/officeDocument/2006/relationships/hyperlink" Target="https://shashanetwork.com/" TargetMode="External"/><Relationship Id="rId3" Type="http://schemas.openxmlformats.org/officeDocument/2006/relationships/tags" Target="../tags/tag118.xml"/><Relationship Id="rId7" Type="http://schemas.openxmlformats.org/officeDocument/2006/relationships/image" Target="../media/image67.jfif"/><Relationship Id="rId2" Type="http://schemas.openxmlformats.org/officeDocument/2006/relationships/tags" Target="../tags/tag117.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Layout" Target="../slideLayouts/slideLayout20.xml"/><Relationship Id="rId9" Type="http://schemas.openxmlformats.org/officeDocument/2006/relationships/hyperlink" Target="mailto:faraimunjoma4@gmail.com"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www.facebook.com/Sherif-ICE-Flakes-313521306128350/" TargetMode="External"/><Relationship Id="rId3" Type="http://schemas.openxmlformats.org/officeDocument/2006/relationships/tags" Target="../tags/tag120.xml"/><Relationship Id="rId7" Type="http://schemas.openxmlformats.org/officeDocument/2006/relationships/image" Target="../media/image68.jpeg"/><Relationship Id="rId2" Type="http://schemas.openxmlformats.org/officeDocument/2006/relationships/tags" Target="../tags/tag119.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Layout" Target="../slideLayouts/slideLayout20.xml"/><Relationship Id="rId9" Type="http://schemas.openxmlformats.org/officeDocument/2006/relationships/hyperlink" Target="mailto:md.sherif@yahoo.com" TargetMode="External"/></Relationships>
</file>

<file path=ppt/slides/_rels/slide63.xml.rels><?xml version="1.0" encoding="UTF-8" standalone="yes"?>
<Relationships xmlns="http://schemas.openxmlformats.org/package/2006/relationships"><Relationship Id="rId8" Type="http://schemas.openxmlformats.org/officeDocument/2006/relationships/hyperlink" Target="https://www.slatecube.com/" TargetMode="External"/><Relationship Id="rId3" Type="http://schemas.openxmlformats.org/officeDocument/2006/relationships/tags" Target="../tags/tag122.xml"/><Relationship Id="rId7" Type="http://schemas.openxmlformats.org/officeDocument/2006/relationships/image" Target="../media/image69.jfif"/><Relationship Id="rId2" Type="http://schemas.openxmlformats.org/officeDocument/2006/relationships/tags" Target="../tags/tag121.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Layout" Target="../slideLayouts/slideLayout20.xml"/><Relationship Id="rId9" Type="http://schemas.openxmlformats.org/officeDocument/2006/relationships/hyperlink" Target="mailto:c.kwekowe@slatecube.com" TargetMode="External"/></Relationships>
</file>

<file path=ppt/slides/_rels/slide64.xml.rels><?xml version="1.0" encoding="UTF-8" standalone="yes"?>
<Relationships xmlns="http://schemas.openxmlformats.org/package/2006/relationships"><Relationship Id="rId8" Type="http://schemas.openxmlformats.org/officeDocument/2006/relationships/hyperlink" Target="https://www.sunsweetsolarltd.com/" TargetMode="External"/><Relationship Id="rId3" Type="http://schemas.openxmlformats.org/officeDocument/2006/relationships/tags" Target="../tags/tag124.xml"/><Relationship Id="rId7" Type="http://schemas.openxmlformats.org/officeDocument/2006/relationships/image" Target="../media/image70.jfif"/><Relationship Id="rId2" Type="http://schemas.openxmlformats.org/officeDocument/2006/relationships/tags" Target="../tags/tag12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Layout" Target="../slideLayouts/slideLayout20.xml"/><Relationship Id="rId9" Type="http://schemas.openxmlformats.org/officeDocument/2006/relationships/hyperlink" Target="mailto:george@sunsweetsolarltd.com" TargetMode="External"/></Relationships>
</file>

<file path=ppt/slides/_rels/slide65.xml.rels><?xml version="1.0" encoding="UTF-8" standalone="yes"?>
<Relationships xmlns="http://schemas.openxmlformats.org/package/2006/relationships"><Relationship Id="rId8" Type="http://schemas.openxmlformats.org/officeDocument/2006/relationships/hyperlink" Target="https://www.facebook.com/SuperMomKE" TargetMode="External"/><Relationship Id="rId3" Type="http://schemas.openxmlformats.org/officeDocument/2006/relationships/tags" Target="../tags/tag126.xml"/><Relationship Id="rId7" Type="http://schemas.openxmlformats.org/officeDocument/2006/relationships/image" Target="../media/image71.jfif"/><Relationship Id="rId2" Type="http://schemas.openxmlformats.org/officeDocument/2006/relationships/tags" Target="../tags/tag125.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Layout" Target="../slideLayouts/slideLayout20.xml"/><Relationship Id="rId9" Type="http://schemas.openxmlformats.org/officeDocument/2006/relationships/hyperlink" Target="mailto:ifreitsarab@gmail.com"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https://surprisetropicale.yinezo.com/" TargetMode="External"/><Relationship Id="rId3" Type="http://schemas.openxmlformats.org/officeDocument/2006/relationships/tags" Target="../tags/tag128.xml"/><Relationship Id="rId7" Type="http://schemas.openxmlformats.org/officeDocument/2006/relationships/image" Target="../media/image72.jpeg"/><Relationship Id="rId2" Type="http://schemas.openxmlformats.org/officeDocument/2006/relationships/tags" Target="../tags/tag127.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Layout" Target="../slideLayouts/slideLayout20.xml"/><Relationship Id="rId9" Type="http://schemas.openxmlformats.org/officeDocument/2006/relationships/hyperlink" Target="mailto:benesthermundele@gmail.com" TargetMode="External"/></Relationships>
</file>

<file path=ppt/slides/_rels/slide67.xml.rels><?xml version="1.0" encoding="UTF-8" standalone="yes"?>
<Relationships xmlns="http://schemas.openxmlformats.org/package/2006/relationships"><Relationship Id="rId8" Type="http://schemas.openxmlformats.org/officeDocument/2006/relationships/hyperlink" Target="mailto:omotayo.boluwatife@gmail.com" TargetMode="External"/><Relationship Id="rId3" Type="http://schemas.openxmlformats.org/officeDocument/2006/relationships/tags" Target="../tags/tag130.xml"/><Relationship Id="rId7" Type="http://schemas.openxmlformats.org/officeDocument/2006/relationships/hyperlink" Target="https://tab-xi.now.sh/" TargetMode="External"/><Relationship Id="rId2" Type="http://schemas.openxmlformats.org/officeDocument/2006/relationships/tags" Target="../tags/tag129.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Layout" Target="../slideLayouts/slideLayout20.xml"/><Relationship Id="rId9" Type="http://schemas.openxmlformats.org/officeDocument/2006/relationships/image" Target="../media/image73.jpeg"/></Relationships>
</file>

<file path=ppt/slides/_rels/slide68.xml.rels><?xml version="1.0" encoding="UTF-8" standalone="yes"?>
<Relationships xmlns="http://schemas.openxmlformats.org/package/2006/relationships"><Relationship Id="rId8" Type="http://schemas.openxmlformats.org/officeDocument/2006/relationships/hyperlink" Target="https://www.tanda.africa/" TargetMode="External"/><Relationship Id="rId3" Type="http://schemas.openxmlformats.org/officeDocument/2006/relationships/tags" Target="../tags/tag132.xml"/><Relationship Id="rId7" Type="http://schemas.openxmlformats.org/officeDocument/2006/relationships/image" Target="../media/image74.png"/><Relationship Id="rId2" Type="http://schemas.openxmlformats.org/officeDocument/2006/relationships/tags" Target="../tags/tag131.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Layout" Target="../slideLayouts/slideLayout20.xml"/><Relationship Id="rId9" Type="http://schemas.openxmlformats.org/officeDocument/2006/relationships/hyperlink" Target="mailto:geoff@tanda.africa" TargetMode="External"/></Relationships>
</file>

<file path=ppt/slides/_rels/slide69.xml.rels><?xml version="1.0" encoding="UTF-8" standalone="yes"?>
<Relationships xmlns="http://schemas.openxmlformats.org/package/2006/relationships"><Relationship Id="rId8" Type="http://schemas.openxmlformats.org/officeDocument/2006/relationships/image" Target="../media/image75.jpg"/><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16.xml"/><Relationship Id="rId10" Type="http://schemas.openxmlformats.org/officeDocument/2006/relationships/hyperlink" Target="mailto:wgomda1@gmail.com" TargetMode="External"/><Relationship Id="rId4" Type="http://schemas.openxmlformats.org/officeDocument/2006/relationships/slideLayout" Target="../slideLayouts/slideLayout20.xml"/><Relationship Id="rId9" Type="http://schemas.openxmlformats.org/officeDocument/2006/relationships/hyperlink" Target="https://www.youtube.com/watch?v=xeGxE_AyoB4"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www.facebook.com/africafoodsmill" TargetMode="External"/><Relationship Id="rId3" Type="http://schemas.openxmlformats.org/officeDocument/2006/relationships/tags" Target="../tags/tag14.xml"/><Relationship Id="rId7" Type="http://schemas.openxmlformats.org/officeDocument/2006/relationships/image" Target="../media/image13.jpe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0.xml"/><Relationship Id="rId9" Type="http://schemas.openxmlformats.org/officeDocument/2006/relationships/hyperlink" Target="mailto:aldreddogue@gmail.com" TargetMode="External"/></Relationships>
</file>

<file path=ppt/slides/_rels/slide70.xml.rels><?xml version="1.0" encoding="UTF-8" standalone="yes"?>
<Relationships xmlns="http://schemas.openxmlformats.org/package/2006/relationships"><Relationship Id="rId8" Type="http://schemas.openxmlformats.org/officeDocument/2006/relationships/image" Target="../media/image76.jpg"/><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17.xml"/><Relationship Id="rId10" Type="http://schemas.openxmlformats.org/officeDocument/2006/relationships/slide" Target="slide9.xml"/><Relationship Id="rId4" Type="http://schemas.openxmlformats.org/officeDocument/2006/relationships/slideLayout" Target="../slideLayouts/slideLayout20.xml"/><Relationship Id="rId9" Type="http://schemas.openxmlformats.org/officeDocument/2006/relationships/hyperlink" Target="https://teensclubeg.com/" TargetMode="External"/></Relationships>
</file>

<file path=ppt/slides/_rels/slide71.xml.rels><?xml version="1.0" encoding="UTF-8" standalone="yes"?>
<Relationships xmlns="http://schemas.openxmlformats.org/package/2006/relationships"><Relationship Id="rId8" Type="http://schemas.openxmlformats.org/officeDocument/2006/relationships/hyperlink" Target="https://teradix.com/" TargetMode="External"/><Relationship Id="rId3" Type="http://schemas.openxmlformats.org/officeDocument/2006/relationships/tags" Target="../tags/tag138.xml"/><Relationship Id="rId7" Type="http://schemas.openxmlformats.org/officeDocument/2006/relationships/image" Target="../media/image77.jpg"/><Relationship Id="rId2" Type="http://schemas.openxmlformats.org/officeDocument/2006/relationships/tags" Target="../tags/tag137.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Layout" Target="../slideLayouts/slideLayout20.xml"/><Relationship Id="rId9" Type="http://schemas.openxmlformats.org/officeDocument/2006/relationships/slide" Target="slide71.xml"/></Relationships>
</file>

<file path=ppt/slides/_rels/slide72.xml.rels><?xml version="1.0" encoding="UTF-8" standalone="yes"?>
<Relationships xmlns="http://schemas.openxmlformats.org/package/2006/relationships"><Relationship Id="rId8" Type="http://schemas.openxmlformats.org/officeDocument/2006/relationships/hyperlink" Target="https://www.linkedin.com/in/faustino-quissico-6154b5114/" TargetMode="External"/><Relationship Id="rId3" Type="http://schemas.openxmlformats.org/officeDocument/2006/relationships/tags" Target="../tags/tag140.xml"/><Relationship Id="rId7" Type="http://schemas.openxmlformats.org/officeDocument/2006/relationships/image" Target="../media/image78.jpeg"/><Relationship Id="rId2" Type="http://schemas.openxmlformats.org/officeDocument/2006/relationships/tags" Target="../tags/tag139.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Layout" Target="../slideLayouts/slideLayout20.xml"/><Relationship Id="rId9" Type="http://schemas.openxmlformats.org/officeDocument/2006/relationships/hyperlink" Target="mailto:quissico.faustino@gmail.com" TargetMode="External"/></Relationships>
</file>

<file path=ppt/slides/_rels/slide73.xml.rels><?xml version="1.0" encoding="UTF-8" standalone="yes"?>
<Relationships xmlns="http://schemas.openxmlformats.org/package/2006/relationships"><Relationship Id="rId8" Type="http://schemas.openxmlformats.org/officeDocument/2006/relationships/hyperlink" Target="https://treplabs.co/" TargetMode="External"/><Relationship Id="rId3" Type="http://schemas.openxmlformats.org/officeDocument/2006/relationships/tags" Target="../tags/tag142.xml"/><Relationship Id="rId7" Type="http://schemas.openxmlformats.org/officeDocument/2006/relationships/image" Target="../media/image79.png"/><Relationship Id="rId2" Type="http://schemas.openxmlformats.org/officeDocument/2006/relationships/tags" Target="../tags/tag141.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Layout" Target="../slideLayouts/slideLayout20.xml"/><Relationship Id="rId9" Type="http://schemas.openxmlformats.org/officeDocument/2006/relationships/slide" Target="slide78.xml"/></Relationships>
</file>

<file path=ppt/slides/_rels/slide74.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tags" Target="../tags/tag144.xml"/><Relationship Id="rId7" Type="http://schemas.openxmlformats.org/officeDocument/2006/relationships/image" Target="../media/image1.emf"/><Relationship Id="rId2" Type="http://schemas.openxmlformats.org/officeDocument/2006/relationships/tags" Target="../tags/tag143.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18.xml"/><Relationship Id="rId10" Type="http://schemas.openxmlformats.org/officeDocument/2006/relationships/hyperlink" Target="mailto:saudah@tusafishe.com" TargetMode="External"/><Relationship Id="rId4" Type="http://schemas.openxmlformats.org/officeDocument/2006/relationships/slideLayout" Target="../slideLayouts/slideLayout20.xml"/><Relationship Id="rId9" Type="http://schemas.openxmlformats.org/officeDocument/2006/relationships/hyperlink" Target="https://tusafishe.com/" TargetMode="External"/></Relationships>
</file>

<file path=ppt/slides/_rels/slide75.xml.rels><?xml version="1.0" encoding="UTF-8" standalone="yes"?>
<Relationships xmlns="http://schemas.openxmlformats.org/package/2006/relationships"><Relationship Id="rId8" Type="http://schemas.openxmlformats.org/officeDocument/2006/relationships/hyperlink" Target="https://www.linkedin.com/in/koffi-jacques-n-guessan-607966144/" TargetMode="External"/><Relationship Id="rId3" Type="http://schemas.openxmlformats.org/officeDocument/2006/relationships/tags" Target="../tags/tag146.xml"/><Relationship Id="rId7" Type="http://schemas.openxmlformats.org/officeDocument/2006/relationships/image" Target="../media/image81.jpeg"/><Relationship Id="rId2" Type="http://schemas.openxmlformats.org/officeDocument/2006/relationships/tags" Target="../tags/tag145.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Layout" Target="../slideLayouts/slideLayout20.xml"/><Relationship Id="rId9" Type="http://schemas.openxmlformats.org/officeDocument/2006/relationships/hyperlink" Target="mailto:nfo.tyegroci@gmail.com" TargetMode="External"/></Relationships>
</file>

<file path=ppt/slides/_rels/slide76.xml.rels><?xml version="1.0" encoding="UTF-8" standalone="yes"?>
<Relationships xmlns="http://schemas.openxmlformats.org/package/2006/relationships"><Relationship Id="rId8" Type="http://schemas.openxmlformats.org/officeDocument/2006/relationships/hyperlink" Target="https://www.uganics.org/" TargetMode="External"/><Relationship Id="rId3" Type="http://schemas.openxmlformats.org/officeDocument/2006/relationships/tags" Target="../tags/tag148.xml"/><Relationship Id="rId7" Type="http://schemas.openxmlformats.org/officeDocument/2006/relationships/image" Target="../media/image82.jpg"/><Relationship Id="rId2" Type="http://schemas.openxmlformats.org/officeDocument/2006/relationships/tags" Target="../tags/tag147.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Layout" Target="../slideLayouts/slideLayout20.xml"/><Relationship Id="rId9" Type="http://schemas.openxmlformats.org/officeDocument/2006/relationships/hyperlink" Target="mailto:uganics@gmail.com" TargetMode="External"/></Relationships>
</file>

<file path=ppt/slides/_rels/slide77.xml.rels><?xml version="1.0" encoding="UTF-8" standalone="yes"?>
<Relationships xmlns="http://schemas.openxmlformats.org/package/2006/relationships"><Relationship Id="rId8" Type="http://schemas.openxmlformats.org/officeDocument/2006/relationships/hyperlink" Target="https://facebook.com/volailledor" TargetMode="External"/><Relationship Id="rId3" Type="http://schemas.openxmlformats.org/officeDocument/2006/relationships/tags" Target="../tags/tag150.xml"/><Relationship Id="rId7" Type="http://schemas.openxmlformats.org/officeDocument/2006/relationships/image" Target="../media/image83.jpeg"/><Relationship Id="rId2" Type="http://schemas.openxmlformats.org/officeDocument/2006/relationships/tags" Target="../tags/tag149.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Layout" Target="../slideLayouts/slideLayout20.xml"/><Relationship Id="rId9" Type="http://schemas.openxmlformats.org/officeDocument/2006/relationships/hyperlink" Target="mailto:benazizkonate@gmail.com" TargetMode="External"/></Relationships>
</file>

<file path=ppt/slides/_rels/slide78.xml.rels><?xml version="1.0" encoding="UTF-8" standalone="yes"?>
<Relationships xmlns="http://schemas.openxmlformats.org/package/2006/relationships"><Relationship Id="rId8" Type="http://schemas.openxmlformats.org/officeDocument/2006/relationships/image" Target="../media/image84.jfif"/><Relationship Id="rId3" Type="http://schemas.openxmlformats.org/officeDocument/2006/relationships/tags" Target="../tags/tag152.xml"/><Relationship Id="rId7"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notesSlide" Target="../notesSlides/notesSlide19.xml"/><Relationship Id="rId10" Type="http://schemas.openxmlformats.org/officeDocument/2006/relationships/hyperlink" Target="mailto:okon.emma0@gmail.com" TargetMode="External"/><Relationship Id="rId4" Type="http://schemas.openxmlformats.org/officeDocument/2006/relationships/slideLayout" Target="../slideLayouts/slideLayout20.xml"/><Relationship Id="rId9" Type="http://schemas.openxmlformats.org/officeDocument/2006/relationships/hyperlink" Target="http://www.vmedkit.com/" TargetMode="External"/></Relationships>
</file>

<file path=ppt/slides/_rels/slide79.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tags" Target="../tags/tag154.xml"/><Relationship Id="rId7" Type="http://schemas.openxmlformats.org/officeDocument/2006/relationships/image" Target="../media/image1.emf"/><Relationship Id="rId2" Type="http://schemas.openxmlformats.org/officeDocument/2006/relationships/tags" Target="../tags/tag153.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notesSlide" Target="../notesSlides/notesSlide20.xml"/><Relationship Id="rId10" Type="http://schemas.openxmlformats.org/officeDocument/2006/relationships/hyperlink" Target="mailto:nalukwagocatherine0@gmail.com" TargetMode="External"/><Relationship Id="rId4" Type="http://schemas.openxmlformats.org/officeDocument/2006/relationships/slideLayout" Target="../slideLayouts/slideLayout20.xml"/><Relationship Id="rId9" Type="http://schemas.openxmlformats.org/officeDocument/2006/relationships/hyperlink" Target="https://nguvu.africa/insights/profile?p=1059"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agripoolapp.com/" TargetMode="External"/><Relationship Id="rId3" Type="http://schemas.openxmlformats.org/officeDocument/2006/relationships/tags" Target="../tags/tag16.xml"/><Relationship Id="rId7" Type="http://schemas.openxmlformats.org/officeDocument/2006/relationships/image" Target="../media/image14.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0.xml"/><Relationship Id="rId9" Type="http://schemas.openxmlformats.org/officeDocument/2006/relationships/hyperlink" Target="mailto:yduffour@agripoolapp.com" TargetMode="External"/></Relationships>
</file>

<file path=ppt/slides/_rels/slide80.xml.rels><?xml version="1.0" encoding="UTF-8" standalone="yes"?>
<Relationships xmlns="http://schemas.openxmlformats.org/package/2006/relationships"><Relationship Id="rId8" Type="http://schemas.openxmlformats.org/officeDocument/2006/relationships/hyperlink" Target="https://www.welikecake.com/" TargetMode="External"/><Relationship Id="rId3" Type="http://schemas.openxmlformats.org/officeDocument/2006/relationships/tags" Target="../tags/tag156.xml"/><Relationship Id="rId7" Type="http://schemas.openxmlformats.org/officeDocument/2006/relationships/image" Target="../media/image86.jpeg"/><Relationship Id="rId2" Type="http://schemas.openxmlformats.org/officeDocument/2006/relationships/tags" Target="../tags/tag155.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Layout" Target="../slideLayouts/slideLayout20.xml"/><Relationship Id="rId9" Type="http://schemas.openxmlformats.org/officeDocument/2006/relationships/hyperlink" Target="mailto:liz@welikecake.com" TargetMode="External"/></Relationships>
</file>

<file path=ppt/slides/_rels/slide81.xml.rels><?xml version="1.0" encoding="UTF-8" standalone="yes"?>
<Relationships xmlns="http://schemas.openxmlformats.org/package/2006/relationships"><Relationship Id="rId8" Type="http://schemas.openxmlformats.org/officeDocument/2006/relationships/hyperlink" Target="https://instagram.com/wasteorcreate" TargetMode="External"/><Relationship Id="rId3" Type="http://schemas.openxmlformats.org/officeDocument/2006/relationships/tags" Target="../tags/tag158.xml"/><Relationship Id="rId7" Type="http://schemas.openxmlformats.org/officeDocument/2006/relationships/image" Target="../media/image87.jpeg"/><Relationship Id="rId2" Type="http://schemas.openxmlformats.org/officeDocument/2006/relationships/tags" Target="../tags/tag157.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Layout" Target="../slideLayouts/slideLayout20.xml"/><Relationship Id="rId9" Type="http://schemas.openxmlformats.org/officeDocument/2006/relationships/hyperlink" Target="mailto:chineyenwa.onu@gmail.com" TargetMode="External"/></Relationships>
</file>

<file path=ppt/slides/_rels/slide82.xml.rels><?xml version="1.0" encoding="UTF-8" standalone="yes"?>
<Relationships xmlns="http://schemas.openxmlformats.org/package/2006/relationships"><Relationship Id="rId8" Type="http://schemas.openxmlformats.org/officeDocument/2006/relationships/image" Target="../media/image88.jpg"/><Relationship Id="rId3" Type="http://schemas.openxmlformats.org/officeDocument/2006/relationships/tags" Target="../tags/tag160.xml"/><Relationship Id="rId7" Type="http://schemas.openxmlformats.org/officeDocument/2006/relationships/image" Target="../media/image1.emf"/><Relationship Id="rId2" Type="http://schemas.openxmlformats.org/officeDocument/2006/relationships/tags" Target="../tags/tag159.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21.xml"/><Relationship Id="rId10" Type="http://schemas.openxmlformats.org/officeDocument/2006/relationships/hyperlink" Target="mailto:thowibaalhag@gmail.com" TargetMode="External"/><Relationship Id="rId4" Type="http://schemas.openxmlformats.org/officeDocument/2006/relationships/slideLayout" Target="../slideLayouts/slideLayout20.xml"/><Relationship Id="rId9" Type="http://schemas.openxmlformats.org/officeDocument/2006/relationships/hyperlink" Target="https://linkedin.com/in/thowiba-alhaj-b603651a3/" TargetMode="External"/></Relationships>
</file>

<file path=ppt/slides/_rels/slide83.xml.rels><?xml version="1.0" encoding="UTF-8" standalone="yes"?>
<Relationships xmlns="http://schemas.openxmlformats.org/package/2006/relationships"><Relationship Id="rId8" Type="http://schemas.openxmlformats.org/officeDocument/2006/relationships/hyperlink" Target="http://www.yelipaperbags.com/" TargetMode="External"/><Relationship Id="rId3" Type="http://schemas.openxmlformats.org/officeDocument/2006/relationships/tags" Target="../tags/tag162.xml"/><Relationship Id="rId7" Type="http://schemas.openxmlformats.org/officeDocument/2006/relationships/image" Target="../media/image89.png"/><Relationship Id="rId2" Type="http://schemas.openxmlformats.org/officeDocument/2006/relationships/tags" Target="../tags/tag161.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slideLayout" Target="../slideLayouts/slideLayout20.xml"/><Relationship Id="rId9" Type="http://schemas.openxmlformats.org/officeDocument/2006/relationships/slide" Target="slide56.xml"/></Relationships>
</file>

<file path=ppt/slides/_rels/slide84.xml.rels><?xml version="1.0" encoding="UTF-8" standalone="yes"?>
<Relationships xmlns="http://schemas.openxmlformats.org/package/2006/relationships"><Relationship Id="rId8" Type="http://schemas.openxmlformats.org/officeDocument/2006/relationships/hyperlink" Target="https://youthinitiativefda.org/" TargetMode="External"/><Relationship Id="rId3" Type="http://schemas.openxmlformats.org/officeDocument/2006/relationships/tags" Target="../tags/tag164.xml"/><Relationship Id="rId7" Type="http://schemas.openxmlformats.org/officeDocument/2006/relationships/image" Target="../media/image90.jfif"/><Relationship Id="rId2" Type="http://schemas.openxmlformats.org/officeDocument/2006/relationships/tags" Target="../tags/tag163.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Layout" Target="../slideLayouts/slideLayout20.xml"/><Relationship Id="rId9" Type="http://schemas.openxmlformats.org/officeDocument/2006/relationships/hyperlink" Target="mailto:ivanyshe25@gmail.com" TargetMode="External"/></Relationships>
</file>

<file path=ppt/slides/_rels/slide85.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tags" Target="../tags/tag166.xml"/><Relationship Id="rId7" Type="http://schemas.openxmlformats.org/officeDocument/2006/relationships/image" Target="../media/image1.emf"/><Relationship Id="rId2" Type="http://schemas.openxmlformats.org/officeDocument/2006/relationships/tags" Target="../tags/tag165.xml"/><Relationship Id="rId1" Type="http://schemas.openxmlformats.org/officeDocument/2006/relationships/vmlDrawing" Target="../drawings/vmlDrawing83.vml"/><Relationship Id="rId6" Type="http://schemas.openxmlformats.org/officeDocument/2006/relationships/oleObject" Target="../embeddings/oleObject83.bin"/><Relationship Id="rId5" Type="http://schemas.openxmlformats.org/officeDocument/2006/relationships/notesSlide" Target="../notesSlides/notesSlide22.xml"/><Relationship Id="rId10" Type="http://schemas.openxmlformats.org/officeDocument/2006/relationships/hyperlink" Target="mailto:yonimasendme@gmail.com" TargetMode="External"/><Relationship Id="rId4" Type="http://schemas.openxmlformats.org/officeDocument/2006/relationships/slideLayout" Target="../slideLayouts/slideLayout20.xml"/><Relationship Id="rId9" Type="http://schemas.openxmlformats.org/officeDocument/2006/relationships/hyperlink" Target="https://yonimaerrandsrunner.com/" TargetMode="External"/></Relationships>
</file>

<file path=ppt/slides/_rels/slide86.xml.rels><?xml version="1.0" encoding="UTF-8" standalone="yes"?>
<Relationships xmlns="http://schemas.openxmlformats.org/package/2006/relationships"><Relationship Id="rId8" Type="http://schemas.openxmlformats.org/officeDocument/2006/relationships/hyperlink" Target="https://instagram.com/yonisteamzambia" TargetMode="External"/><Relationship Id="rId3" Type="http://schemas.openxmlformats.org/officeDocument/2006/relationships/tags" Target="../tags/tag168.xml"/><Relationship Id="rId7" Type="http://schemas.openxmlformats.org/officeDocument/2006/relationships/image" Target="../media/image92.jpeg"/><Relationship Id="rId2" Type="http://schemas.openxmlformats.org/officeDocument/2006/relationships/tags" Target="../tags/tag167.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Layout" Target="../slideLayouts/slideLayout20.xml"/><Relationship Id="rId9" Type="http://schemas.openxmlformats.org/officeDocument/2006/relationships/hyperlink" Target="mailto:alina.m.kari@gmail.com"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xml"/><Relationship Id="rId10" Type="http://schemas.openxmlformats.org/officeDocument/2006/relationships/slide" Target="slide26.xml"/><Relationship Id="rId4" Type="http://schemas.openxmlformats.org/officeDocument/2006/relationships/slideLayout" Target="../slideLayouts/slideLayout20.xml"/><Relationship Id="rId9" Type="http://schemas.openxmlformats.org/officeDocument/2006/relationships/hyperlink" Target="https://facebook.com/AngazaEnerg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89075" y="3308912"/>
            <a:ext cx="10416713" cy="685800"/>
          </a:xfrm>
        </p:spPr>
        <p:txBody>
          <a:bodyPr>
            <a:noAutofit/>
          </a:bodyPr>
          <a:lstStyle/>
          <a:p>
            <a:r>
              <a:rPr lang="en-US" sz="4400" dirty="0" err="1"/>
              <a:t>Anzisha</a:t>
            </a:r>
            <a:r>
              <a:rPr lang="en-US" sz="4400" dirty="0"/>
              <a:t> Fellow Directory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0600" y="4874526"/>
            <a:ext cx="4452936" cy="1221474"/>
          </a:xfrm>
          <a:prstGeom prst="rect">
            <a:avLst/>
          </a:prstGeom>
        </p:spPr>
      </p:pic>
    </p:spTree>
    <p:extLst>
      <p:ext uri="{BB962C8B-B14F-4D97-AF65-F5344CB8AC3E}">
        <p14:creationId xmlns:p14="http://schemas.microsoft.com/office/powerpoint/2010/main" val="268226513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6881689-9D4E-480E-B79A-79AE98D77A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2488"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xmlns="" id="{B6881689-9D4E-480E-B79A-79AE98D77A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5E6D9D65-A58A-4E54-9863-AD42C936061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170B8355-681B-454A-91F7-2DB479BAB43D}"/>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536857" cy="609600"/>
          </a:xfrm>
        </p:spPr>
        <p:txBody>
          <a:bodyPr>
            <a:noAutofit/>
          </a:bodyPr>
          <a:lstStyle/>
          <a:p>
            <a:r>
              <a:rPr lang="en-ZA" sz="2800" b="1" dirty="0">
                <a:solidFill>
                  <a:srgbClr val="862624"/>
                </a:solidFill>
              </a:rPr>
              <a:t>Ignatius </a:t>
            </a:r>
            <a:r>
              <a:rPr lang="en-ZA" sz="2800" b="1" dirty="0" err="1">
                <a:solidFill>
                  <a:srgbClr val="862624"/>
                </a:solidFill>
              </a:rPr>
              <a:t>Ahumuza</a:t>
            </a:r>
            <a:r>
              <a:rPr lang="en-ZA" sz="2800" b="1" dirty="0">
                <a:solidFill>
                  <a:srgbClr val="862624"/>
                </a:solidFill>
              </a:rPr>
              <a:t> – Art Planet Academy: Agricultural training</a:t>
            </a:r>
            <a:endParaRPr lang="en-US" sz="2800" b="1" dirty="0">
              <a:solidFill>
                <a:srgbClr val="862624"/>
              </a:solidFill>
            </a:endParaRPr>
          </a:p>
        </p:txBody>
      </p:sp>
      <p:pic>
        <p:nvPicPr>
          <p:cNvPr id="2" name="Picture 1"/>
          <p:cNvPicPr>
            <a:picLocks noChangeAspect="1"/>
          </p:cNvPicPr>
          <p:nvPr/>
        </p:nvPicPr>
        <p:blipFill rotWithShape="1">
          <a:blip r:embed="rId8">
            <a:extLst>
              <a:ext uri="{28A0092B-C50C-407E-A947-70E740481C1C}">
                <a14:useLocalDpi xmlns:a14="http://schemas.microsoft.com/office/drawing/2010/main" val="0"/>
              </a:ext>
            </a:extLst>
          </a:blip>
          <a:srcRect l="4971" t="4055" r="4971" b="11653"/>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IGNATIUS</a:t>
            </a:r>
          </a:p>
          <a:p>
            <a:pPr algn="ctr"/>
            <a:r>
              <a:rPr lang="en-ZA" sz="1400" dirty="0">
                <a:solidFill>
                  <a:srgbClr val="862624"/>
                </a:solidFill>
                <a:latin typeface="Garamond" panose="02020404030301010803" pitchFamily="18" charset="0"/>
              </a:rPr>
              <a:t>Ignatius was </a:t>
            </a:r>
            <a:r>
              <a:rPr lang="en-US" sz="1400" dirty="0">
                <a:solidFill>
                  <a:srgbClr val="862624"/>
                </a:solidFill>
                <a:latin typeface="Garamond" panose="02020404030301010803" pitchFamily="18" charset="0"/>
              </a:rPr>
              <a:t>born in a large family of 18 children in a small poverty-ridden village in Masindi, Uganda. Because his family’s livelihood and his upbringing depended on peasant farming, him and his siblings were encouraged to become farmers. In 2018, he was invited to speak at the International Board of Food and Agricultural Development meeting in Washington DC. He is a YALI East Africa Regional Leadership Center Fellow.</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Art Planet Academy</a:t>
            </a:r>
          </a:p>
          <a:p>
            <a:pPr lvl="1"/>
            <a:r>
              <a:rPr lang="en-US" b="1" dirty="0">
                <a:solidFill>
                  <a:schemeClr val="tx1"/>
                </a:solidFill>
                <a:latin typeface="Garamond" panose="02020404030301010803" pitchFamily="18" charset="0"/>
              </a:rPr>
              <a:t>BUSINESS ACTIVITIES: </a:t>
            </a:r>
            <a:r>
              <a:rPr lang="en-ZA" dirty="0">
                <a:solidFill>
                  <a:schemeClr val="tx1"/>
                </a:solidFill>
                <a:latin typeface="Garamond" panose="02020404030301010803" pitchFamily="18" charset="0"/>
              </a:rPr>
              <a:t>Art Planet Academy is a school that t</a:t>
            </a:r>
            <a:r>
              <a:rPr lang="en-US" dirty="0">
                <a:solidFill>
                  <a:schemeClr val="tx1"/>
                </a:solidFill>
                <a:latin typeface="Garamond" panose="02020404030301010803" pitchFamily="18" charset="0"/>
              </a:rPr>
              <a:t>rains school children on agricultural practices and connects farmers to the market.</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0</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Ignatius </a:t>
            </a:r>
            <a:r>
              <a:rPr lang="en-ZA" sz="1400" dirty="0" err="1">
                <a:solidFill>
                  <a:schemeClr val="tx1"/>
                </a:solidFill>
                <a:latin typeface="Garamond" panose="02020404030301010803" pitchFamily="18" charset="0"/>
              </a:rPr>
              <a:t>Ahumuza</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US" sz="1400" dirty="0">
                <a:solidFill>
                  <a:schemeClr val="tx1"/>
                </a:solidFill>
                <a:latin typeface="Garamond" panose="02020404030301010803" pitchFamily="18" charset="0"/>
                <a:hlinkClick r:id="rId9"/>
              </a:rPr>
              <a:t>https://www.linkedin.com/in/prince-ahumuza-ignatius-26141140/</a:t>
            </a:r>
            <a:r>
              <a:rPr lang="en-US" sz="1400" dirty="0">
                <a:solidFill>
                  <a:schemeClr val="tx1"/>
                </a:solidFill>
                <a:latin typeface="Garamond" panose="02020404030301010803" pitchFamily="18" charset="0"/>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rPr>
              <a:t>ahumuzaignatius@rocketmail.com</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6 755 151 527</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109443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1764D504-D914-4F7C-96DC-F4C9EE5D38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577"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1764D504-D914-4F7C-96DC-F4C9EE5D38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EB5AA3DF-A49B-4A51-BCF8-AF690248011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261C444A-70DC-4446-844B-9E6B9E38040A}"/>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7"/>
            <a:ext cx="10294130" cy="730533"/>
          </a:xfrm>
        </p:spPr>
        <p:txBody>
          <a:bodyPr>
            <a:noAutofit/>
          </a:bodyPr>
          <a:lstStyle/>
          <a:p>
            <a:r>
              <a:rPr lang="en-ZA" sz="2800" b="1" dirty="0" err="1">
                <a:solidFill>
                  <a:srgbClr val="862624"/>
                </a:solidFill>
              </a:rPr>
              <a:t>Olipah</a:t>
            </a:r>
            <a:r>
              <a:rPr lang="en-ZA" sz="2800" b="1" dirty="0">
                <a:solidFill>
                  <a:srgbClr val="862624"/>
                </a:solidFill>
              </a:rPr>
              <a:t> </a:t>
            </a:r>
            <a:r>
              <a:rPr lang="en-ZA" sz="2800" b="1" dirty="0" err="1">
                <a:solidFill>
                  <a:srgbClr val="862624"/>
                </a:solidFill>
              </a:rPr>
              <a:t>Chomba</a:t>
            </a:r>
            <a:r>
              <a:rPr lang="en-ZA" sz="2800" b="1" dirty="0">
                <a:solidFill>
                  <a:srgbClr val="862624"/>
                </a:solidFill>
              </a:rPr>
              <a:t>– Apex Poultry: Poultry enterprise</a:t>
            </a:r>
            <a:endParaRPr lang="en-US" sz="2800" b="1" dirty="0">
              <a:solidFill>
                <a:srgbClr val="862624"/>
              </a:solidFill>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9516" t="5792" r="8223" b="5792"/>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OLIPAH</a:t>
            </a:r>
          </a:p>
          <a:p>
            <a:pPr algn="ctr"/>
            <a:r>
              <a:rPr lang="en-US" sz="1400" dirty="0" err="1">
                <a:solidFill>
                  <a:schemeClr val="accent1"/>
                </a:solidFill>
                <a:latin typeface="Garamond"/>
              </a:rPr>
              <a:t>Olipah</a:t>
            </a:r>
            <a:r>
              <a:rPr lang="en-US" sz="1400" dirty="0">
                <a:solidFill>
                  <a:schemeClr val="accent1"/>
                </a:solidFill>
                <a:latin typeface="Garamond"/>
              </a:rPr>
              <a:t> </a:t>
            </a:r>
            <a:r>
              <a:rPr lang="en-US" sz="1400" dirty="0" err="1">
                <a:solidFill>
                  <a:schemeClr val="accent1"/>
                </a:solidFill>
                <a:latin typeface="Garamond"/>
              </a:rPr>
              <a:t>Chomba</a:t>
            </a:r>
            <a:r>
              <a:rPr lang="en-US" sz="1400" dirty="0">
                <a:solidFill>
                  <a:schemeClr val="accent1"/>
                </a:solidFill>
                <a:latin typeface="Garamond"/>
              </a:rPr>
              <a:t> started her chicken farm as a survivalist entrepreneur. While </a:t>
            </a:r>
            <a:r>
              <a:rPr lang="en-US" sz="1400" dirty="0" err="1">
                <a:solidFill>
                  <a:schemeClr val="accent1"/>
                </a:solidFill>
                <a:latin typeface="Garamond"/>
              </a:rPr>
              <a:t>Olipah</a:t>
            </a:r>
            <a:r>
              <a:rPr lang="en-US" sz="1400" dirty="0">
                <a:solidFill>
                  <a:schemeClr val="accent1"/>
                </a:solidFill>
                <a:latin typeface="Garamond"/>
              </a:rPr>
              <a:t> was finishing her medical degree she had to leave her studies due to health issues. It was during this period that she discovered her passion for farming. Not long after pursuing her farming activities and receiving support from her brother, </a:t>
            </a:r>
            <a:r>
              <a:rPr lang="en-US" sz="1400" dirty="0" err="1">
                <a:solidFill>
                  <a:schemeClr val="accent1"/>
                </a:solidFill>
                <a:latin typeface="Garamond"/>
              </a:rPr>
              <a:t>Olipah</a:t>
            </a:r>
            <a:r>
              <a:rPr lang="en-US" sz="1400" dirty="0">
                <a:solidFill>
                  <a:schemeClr val="accent1"/>
                </a:solidFill>
                <a:latin typeface="Garamond"/>
              </a:rPr>
              <a:t> founded Poultry.</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Apex Poultry</a:t>
            </a:r>
          </a:p>
          <a:p>
            <a:pPr lvl="1"/>
            <a:r>
              <a:rPr lang="en-US" b="1" dirty="0">
                <a:solidFill>
                  <a:schemeClr val="tx1"/>
                </a:solidFill>
                <a:latin typeface="Garamond"/>
              </a:rPr>
              <a:t>BUSINESS ACTIVITIES: </a:t>
            </a:r>
            <a:r>
              <a:rPr lang="en-US" dirty="0">
                <a:solidFill>
                  <a:schemeClr val="tx1"/>
                </a:solidFill>
                <a:latin typeface="Garamond"/>
              </a:rPr>
              <a:t>Apex Poultry is a poultry enterprise which orders broiler chicken and nurtures them for a six-weeks, by providing them with the necessary vaccines and medicine. When the poultry is ready they inform and sell it to their consumers, namely (marketers and restaurants).</a:t>
            </a:r>
          </a:p>
          <a:p>
            <a:pPr lvl="1"/>
            <a:r>
              <a:rPr lang="en-US" dirty="0">
                <a:solidFill>
                  <a:schemeClr val="tx1"/>
                </a:solidFill>
                <a:latin typeface="Garamond"/>
              </a:rPr>
              <a:t> </a:t>
            </a:r>
            <a:r>
              <a:rPr lang="en-US" b="1" dirty="0">
                <a:solidFill>
                  <a:schemeClr val="tx1"/>
                </a:solidFill>
                <a:latin typeface="Garamond"/>
              </a:rPr>
              <a:t>BUSINESS LOCATION: </a:t>
            </a:r>
            <a:r>
              <a:rPr lang="en-US" dirty="0">
                <a:solidFill>
                  <a:schemeClr val="tx1"/>
                </a:solidFill>
                <a:latin typeface="Garamond"/>
              </a:rPr>
              <a:t>Zambia</a:t>
            </a:r>
            <a:endParaRPr lang="en-US" dirty="0">
              <a:solidFill>
                <a:schemeClr val="tx1"/>
              </a:solidFill>
              <a:latin typeface="Garamond" panose="02020404030301010803" pitchFamily="18" charset="0"/>
            </a:endParaRPr>
          </a:p>
          <a:p>
            <a:pPr lvl="1"/>
            <a:r>
              <a:rPr lang="en-US" b="1" dirty="0">
                <a:solidFill>
                  <a:schemeClr val="tx1"/>
                </a:solidFill>
                <a:latin typeface="Garamond"/>
              </a:rPr>
              <a:t>JOBS CREATED (Full &amp; Part Time): </a:t>
            </a:r>
            <a:r>
              <a:rPr lang="en-US" dirty="0">
                <a:solidFill>
                  <a:schemeClr val="tx1"/>
                </a:solidFill>
                <a:latin typeface="Garamond"/>
              </a:rPr>
              <a:t>4</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Olipah</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Chomba</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anzishaprize.org/fellows/olipah-chomba</a:t>
            </a:r>
            <a:r>
              <a:rPr lang="en-ZA" sz="1400" dirty="0">
                <a:solidFill>
                  <a:schemeClr val="tx1"/>
                </a:solidFill>
                <a:latin typeface="Garamond" panose="02020404030301010803" pitchFamily="18" charset="0"/>
              </a:rPr>
              <a:t> </a:t>
            </a:r>
            <a:endParaRPr lang="en-ZA" sz="1400" b="1" dirty="0">
              <a:solidFill>
                <a:schemeClr val="tx1"/>
              </a:solidFill>
              <a:latin typeface="Garamond" panose="02020404030301010803" pitchFamily="18" charset="0"/>
            </a:endParaRPr>
          </a:p>
          <a:p>
            <a:pPr fontAlgn="base"/>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olipahchomba107@gmail.com</a:t>
            </a:r>
            <a:r>
              <a:rPr lang="en-ZA" sz="1400" dirty="0">
                <a:solidFill>
                  <a:schemeClr val="tx1"/>
                </a:solidFill>
                <a:latin typeface="Garamond" panose="02020404030301010803" pitchFamily="18" charset="0"/>
              </a:rPr>
              <a:t/>
            </a:r>
            <a:br>
              <a:rPr lang="en-ZA" sz="1400" dirty="0">
                <a:solidFill>
                  <a:schemeClr val="tx1"/>
                </a:solidFill>
                <a:latin typeface="Garamond" panose="02020404030301010803" pitchFamily="18" charset="0"/>
              </a:rPr>
            </a:b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60 974 970 373</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006565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E13CA529-FD34-4D5E-A973-663818D06F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3512"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xmlns="" id="{E13CA529-FD34-4D5E-A973-663818D06F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D9AF1E95-7127-43AB-93B0-5FF2791FC5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9672CE7E-56A1-4106-8B12-04336E20BF6A}"/>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536857" cy="609600"/>
          </a:xfrm>
        </p:spPr>
        <p:txBody>
          <a:bodyPr>
            <a:noAutofit/>
          </a:bodyPr>
          <a:lstStyle/>
          <a:p>
            <a:r>
              <a:rPr lang="en-ZA" sz="2800" b="1" dirty="0">
                <a:solidFill>
                  <a:srgbClr val="862624"/>
                </a:solidFill>
              </a:rPr>
              <a:t>Osvaldo </a:t>
            </a:r>
            <a:r>
              <a:rPr lang="en-ZA" sz="2800" b="1" dirty="0" err="1">
                <a:solidFill>
                  <a:srgbClr val="862624"/>
                </a:solidFill>
              </a:rPr>
              <a:t>Mokouma</a:t>
            </a:r>
            <a:r>
              <a:rPr lang="en-ZA" sz="2800" b="1" dirty="0">
                <a:solidFill>
                  <a:srgbClr val="862624"/>
                </a:solidFill>
              </a:rPr>
              <a:t> – AquagriTech: Agri-Tech and food supply</a:t>
            </a:r>
            <a:endParaRPr lang="en-US" sz="2800" b="1" dirty="0">
              <a:solidFill>
                <a:srgbClr val="862624"/>
              </a:solidFill>
            </a:endParaRPr>
          </a:p>
        </p:txBody>
      </p:sp>
      <p:pic>
        <p:nvPicPr>
          <p:cNvPr id="2" name="Picture 1"/>
          <p:cNvPicPr>
            <a:picLocks noChangeAspect="1"/>
          </p:cNvPicPr>
          <p:nvPr/>
        </p:nvPicPr>
        <p:blipFill rotWithShape="1">
          <a:blip r:embed="rId8" cstate="print">
            <a:extLst>
              <a:ext uri="{28A0092B-C50C-407E-A947-70E740481C1C}">
                <a14:useLocalDpi xmlns:a14="http://schemas.microsoft.com/office/drawing/2010/main" val="0"/>
              </a:ext>
            </a:extLst>
          </a:blip>
          <a:srcRect l="3997" t="7074" r="24679" b="4417"/>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OSVALDO</a:t>
            </a:r>
          </a:p>
          <a:p>
            <a:pPr algn="ctr"/>
            <a:r>
              <a:rPr lang="en-US" sz="1400" dirty="0">
                <a:solidFill>
                  <a:srgbClr val="862624"/>
                </a:solidFill>
                <a:latin typeface="Garamond"/>
              </a:rPr>
              <a:t>Osvaldo is the co-founder of </a:t>
            </a:r>
            <a:r>
              <a:rPr lang="en-US" sz="1400" dirty="0" err="1">
                <a:solidFill>
                  <a:srgbClr val="862624"/>
                </a:solidFill>
                <a:latin typeface="Garamond"/>
              </a:rPr>
              <a:t>AquagriTech</a:t>
            </a:r>
            <a:r>
              <a:rPr lang="en-US" sz="1400" dirty="0">
                <a:solidFill>
                  <a:srgbClr val="862624"/>
                </a:solidFill>
                <a:latin typeface="Garamond"/>
              </a:rPr>
              <a:t>. He was initially not interested in agriculture. However, after seeing the high number of imported agricultural goods in his country, he decided to get involved in agriculture. Leveraging off of his digital experience, he built an application that farmers could use for their farming activities. In 2018, he met </a:t>
            </a:r>
            <a:r>
              <a:rPr lang="en-US" sz="1400" dirty="0" err="1">
                <a:solidFill>
                  <a:srgbClr val="862624"/>
                </a:solidFill>
                <a:latin typeface="Garamond"/>
              </a:rPr>
              <a:t>Merveil</a:t>
            </a:r>
            <a:r>
              <a:rPr lang="en-US" sz="1400" dirty="0">
                <a:solidFill>
                  <a:srgbClr val="862624"/>
                </a:solidFill>
                <a:latin typeface="Garamond"/>
              </a:rPr>
              <a:t> </a:t>
            </a:r>
            <a:r>
              <a:rPr lang="en-US" sz="1400" dirty="0" err="1">
                <a:solidFill>
                  <a:srgbClr val="862624"/>
                </a:solidFill>
                <a:latin typeface="Garamond"/>
              </a:rPr>
              <a:t>Mavoungou</a:t>
            </a:r>
            <a:r>
              <a:rPr lang="en-US" sz="1400" dirty="0">
                <a:solidFill>
                  <a:srgbClr val="862624"/>
                </a:solidFill>
                <a:latin typeface="Garamond"/>
              </a:rPr>
              <a:t> and the two of them co-founded </a:t>
            </a:r>
            <a:r>
              <a:rPr lang="en-US" sz="1400" dirty="0" err="1">
                <a:solidFill>
                  <a:srgbClr val="862624"/>
                </a:solidFill>
                <a:latin typeface="Garamond"/>
              </a:rPr>
              <a:t>AquagriTech</a:t>
            </a:r>
            <a:endParaRPr lang="en-US" sz="1400" dirty="0">
              <a:solidFill>
                <a:srgbClr val="862624"/>
              </a:solidFill>
              <a:latin typeface="Garamond"/>
            </a:endParaRPr>
          </a:p>
        </p:txBody>
      </p:sp>
      <p:sp>
        <p:nvSpPr>
          <p:cNvPr id="3" name="Rectangle 2"/>
          <p:cNvSpPr/>
          <p:nvPr/>
        </p:nvSpPr>
        <p:spPr>
          <a:xfrm>
            <a:off x="4524703" y="1671144"/>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AquagriTech</a:t>
            </a:r>
          </a:p>
          <a:p>
            <a:pPr lvl="1"/>
            <a:r>
              <a:rPr lang="en-US" b="1" dirty="0">
                <a:solidFill>
                  <a:schemeClr val="tx1"/>
                </a:solidFill>
                <a:latin typeface="Garamond"/>
              </a:rPr>
              <a:t>BUSINESS ACTIVITIES: </a:t>
            </a:r>
            <a:r>
              <a:rPr lang="en-ZA" dirty="0" err="1">
                <a:solidFill>
                  <a:schemeClr val="tx1"/>
                </a:solidFill>
                <a:latin typeface="Garamond"/>
              </a:rPr>
              <a:t>AquagriTech</a:t>
            </a:r>
            <a:r>
              <a:rPr lang="en-US" dirty="0">
                <a:solidFill>
                  <a:schemeClr val="tx1"/>
                </a:solidFill>
                <a:latin typeface="Garamond"/>
              </a:rPr>
              <a:t> supplies healthy, fresh fish, fruits and vegetables all year round.</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The</a:t>
            </a:r>
            <a:r>
              <a:rPr lang="en-US" b="1" dirty="0">
                <a:solidFill>
                  <a:schemeClr val="tx1"/>
                </a:solidFill>
                <a:latin typeface="Garamond" panose="02020404030301010803" pitchFamily="18" charset="0"/>
              </a:rPr>
              <a:t> </a:t>
            </a:r>
            <a:r>
              <a:rPr lang="en-US" dirty="0">
                <a:solidFill>
                  <a:schemeClr val="tx1"/>
                </a:solidFill>
                <a:latin typeface="Garamond" panose="02020404030301010803" pitchFamily="18" charset="0"/>
              </a:rPr>
              <a:t>Republic of Congo</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6</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Osvaldo </a:t>
            </a:r>
            <a:r>
              <a:rPr lang="en-ZA" sz="1400" dirty="0" err="1">
                <a:solidFill>
                  <a:schemeClr val="tx1"/>
                </a:solidFill>
                <a:latin typeface="Garamond" panose="02020404030301010803" pitchFamily="18" charset="0"/>
              </a:rPr>
              <a:t>Mokouma</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US" sz="1400" dirty="0">
                <a:solidFill>
                  <a:schemeClr val="tx1"/>
                </a:solidFill>
                <a:latin typeface="Garamond" panose="02020404030301010803" pitchFamily="18" charset="0"/>
                <a:hlinkClick r:id="rId9"/>
              </a:rPr>
              <a:t>www.aquagritech.com</a:t>
            </a:r>
            <a:r>
              <a:rPr lang="en-US" sz="1400" dirty="0">
                <a:solidFill>
                  <a:schemeClr val="tx1"/>
                </a:solidFill>
                <a:latin typeface="Garamond" panose="02020404030301010803" pitchFamily="18" charset="0"/>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rPr>
              <a:t>osvaldoreychrysmokouma@gmail.com</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42 06 650 157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394220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DC0403C-7438-474B-B014-094158095D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645" name="think-cell Slide" r:id="rId6" imgW="421" imgH="423" progId="TCLayout.ActiveDocument.1">
                  <p:embed/>
                </p:oleObj>
              </mc:Choice>
              <mc:Fallback>
                <p:oleObj name="think-cell Slide" r:id="rId6" imgW="421" imgH="423" progId="TCLayout.ActiveDocument.1">
                  <p:embed/>
                  <p:pic>
                    <p:nvPicPr>
                      <p:cNvPr id="3" name="Object 2" hidden="1">
                        <a:extLst>
                          <a:ext uri="{FF2B5EF4-FFF2-40B4-BE49-F238E27FC236}">
                            <a16:creationId xmlns:a16="http://schemas.microsoft.com/office/drawing/2014/main" xmlns="" id="{1DC0403C-7438-474B-B014-094158095D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155198F0-1510-4A77-BF9E-5C577BD46EF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C2468301-D5E0-46AF-A4EE-18DBCA57A90B}"/>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8" name="Title 4"/>
          <p:cNvSpPr>
            <a:spLocks noGrp="1"/>
          </p:cNvSpPr>
          <p:nvPr>
            <p:ph type="title"/>
          </p:nvPr>
        </p:nvSpPr>
        <p:spPr>
          <a:xfrm>
            <a:off x="1007442" y="481818"/>
            <a:ext cx="10536857" cy="609600"/>
          </a:xfrm>
        </p:spPr>
        <p:txBody>
          <a:bodyPr>
            <a:noAutofit/>
          </a:bodyPr>
          <a:lstStyle/>
          <a:p>
            <a:r>
              <a:rPr lang="en-ZA" sz="2800" b="1" dirty="0">
                <a:solidFill>
                  <a:srgbClr val="862624"/>
                </a:solidFill>
              </a:rPr>
              <a:t>Asha Abbas Kombo – Aura Teens: Health awareness</a:t>
            </a:r>
            <a:endParaRPr lang="en-US" sz="2800" b="1" dirty="0">
              <a:solidFill>
                <a:srgbClr val="862624"/>
              </a:solidFill>
            </a:endParaRPr>
          </a:p>
        </p:txBody>
      </p:sp>
      <p:pic>
        <p:nvPicPr>
          <p:cNvPr id="9" name="Picture 8"/>
          <p:cNvPicPr preferRelativeResize="0">
            <a:picLocks/>
          </p:cNvPicPr>
          <p:nvPr/>
        </p:nvPicPr>
        <p:blipFill rotWithShape="1">
          <a:blip r:embed="rId8" cstate="print">
            <a:extLst>
              <a:ext uri="{28A0092B-C50C-407E-A947-70E740481C1C}">
                <a14:useLocalDpi xmlns:a14="http://schemas.microsoft.com/office/drawing/2010/main" val="0"/>
              </a:ext>
            </a:extLst>
          </a:blip>
          <a:srcRect l="1707" t="7792" r="1707" b="3618"/>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10" name="Rectangle 9"/>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ASHA</a:t>
            </a:r>
          </a:p>
          <a:p>
            <a:pPr algn="ctr"/>
            <a:r>
              <a:rPr lang="en-US" sz="1400" dirty="0">
                <a:solidFill>
                  <a:srgbClr val="862624"/>
                </a:solidFill>
                <a:latin typeface="Garamond" panose="02020404030301010803" pitchFamily="18" charset="0"/>
              </a:rPr>
              <a:t>Asha is a young African leader passionate about technology, leadership, entrepreneurship and the environment. As an agent of change, she founded the Aura Teen sexual health organization. She also co-founded Evergreen – a company that recycles waste into artificial wood and furniture. With a need to enrich her pre-existing leadership experience, she enrolled in African Leadership Academy (South Africa).</a:t>
            </a:r>
            <a:endParaRPr lang="en-US" sz="1100" dirty="0">
              <a:solidFill>
                <a:srgbClr val="862624"/>
              </a:solidFill>
              <a:latin typeface="Garamond" panose="02020404030301010803" pitchFamily="18" charset="0"/>
            </a:endParaRPr>
          </a:p>
        </p:txBody>
      </p:sp>
      <p:sp>
        <p:nvSpPr>
          <p:cNvPr id="11" name="Rectangle 10"/>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Aura Teens</a:t>
            </a:r>
          </a:p>
          <a:p>
            <a:pPr lvl="1"/>
            <a:r>
              <a:rPr lang="en-US" b="1" dirty="0">
                <a:solidFill>
                  <a:schemeClr val="tx1"/>
                </a:solidFill>
                <a:latin typeface="Garamond"/>
              </a:rPr>
              <a:t>BUSINESS ACTIVITIES: </a:t>
            </a:r>
            <a:r>
              <a:rPr lang="en-US" dirty="0">
                <a:solidFill>
                  <a:schemeClr val="tx1"/>
                </a:solidFill>
                <a:latin typeface="Garamond"/>
              </a:rPr>
              <a:t>Aura Teens is an online platform which educates teenagers about the health risks associated with sex. Together with health practitioners, Aura Teens provides counseling services both online and in person, to educate on topics such as STDs and cervical cancer.</a:t>
            </a:r>
          </a:p>
          <a:p>
            <a:pPr lvl="1"/>
            <a:r>
              <a:rPr lang="en-US" b="1" dirty="0">
                <a:solidFill>
                  <a:schemeClr val="tx1"/>
                </a:solidFill>
                <a:latin typeface="Garamond"/>
              </a:rPr>
              <a:t>BUSINESS LOCATION: </a:t>
            </a:r>
            <a:r>
              <a:rPr lang="en-US" dirty="0">
                <a:solidFill>
                  <a:schemeClr val="tx1"/>
                </a:solidFill>
                <a:latin typeface="Garamond"/>
              </a:rPr>
              <a:t>Tanzania</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8</a:t>
            </a:r>
          </a:p>
        </p:txBody>
      </p:sp>
      <p:sp>
        <p:nvSpPr>
          <p:cNvPr id="12" name="Rectangular Callout 11"/>
          <p:cNvSpPr/>
          <p:nvPr/>
        </p:nvSpPr>
        <p:spPr>
          <a:xfrm>
            <a:off x="1049480" y="4698125"/>
            <a:ext cx="3217718"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Asha Abbas Kombo</a:t>
            </a: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9"/>
              </a:rPr>
              <a:t>https://www.facebook.com/aurateens</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rPr>
              <a:t>usherabbas@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5 673 007 17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8728624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D4CFFC16-819E-4749-A399-1F961579D0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825"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D4CFFC16-819E-4749-A399-1F961579D0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685F724D-654B-4958-8C82-DF8314EAC9F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6B1B6013-FACA-4937-A5FF-001C6E5B4B4D}"/>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600" b="1" dirty="0">
                <a:solidFill>
                  <a:srgbClr val="862624"/>
                </a:solidFill>
                <a:latin typeface="Garamond"/>
              </a:rPr>
              <a:t>Victoria </a:t>
            </a:r>
            <a:r>
              <a:rPr lang="en-ZA" sz="2600" b="1" dirty="0" err="1">
                <a:solidFill>
                  <a:srgbClr val="862624"/>
                </a:solidFill>
                <a:latin typeface="Garamond"/>
              </a:rPr>
              <a:t>Olimatunde</a:t>
            </a:r>
            <a:r>
              <a:rPr lang="en-ZA" sz="2600" b="1" dirty="0">
                <a:solidFill>
                  <a:srgbClr val="862624"/>
                </a:solidFill>
                <a:latin typeface="Garamond"/>
              </a:rPr>
              <a:t> – </a:t>
            </a:r>
            <a:r>
              <a:rPr lang="en-ZA" sz="2600" b="1" dirty="0" err="1">
                <a:solidFill>
                  <a:srgbClr val="862624"/>
                </a:solidFill>
                <a:latin typeface="Garamond"/>
              </a:rPr>
              <a:t>BizKids</a:t>
            </a:r>
            <a:r>
              <a:rPr lang="en-ZA" sz="2600" b="1" dirty="0">
                <a:solidFill>
                  <a:srgbClr val="862624"/>
                </a:solidFill>
                <a:latin typeface="Garamond"/>
              </a:rPr>
              <a:t>: Financial literacy board game</a:t>
            </a:r>
            <a:endParaRPr lang="en-US" sz="2600" b="1" dirty="0">
              <a:solidFill>
                <a:srgbClr val="862624"/>
              </a:solidFill>
              <a:latin typeface="Garamond"/>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t="5102" b="36894"/>
          <a:stretch/>
        </p:blipFill>
        <p:spPr>
          <a:xfrm>
            <a:off x="1293711"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VICTORIA</a:t>
            </a:r>
          </a:p>
          <a:p>
            <a:pPr algn="ctr"/>
            <a:r>
              <a:rPr lang="en-US" sz="1400" dirty="0">
                <a:solidFill>
                  <a:schemeClr val="accent1"/>
                </a:solidFill>
                <a:latin typeface="Garamond"/>
              </a:rPr>
              <a:t> Victoria is the founder of </a:t>
            </a:r>
            <a:r>
              <a:rPr lang="en-US" sz="1400" dirty="0" err="1">
                <a:solidFill>
                  <a:schemeClr val="accent1"/>
                </a:solidFill>
                <a:latin typeface="Garamond"/>
              </a:rPr>
              <a:t>BizKids</a:t>
            </a:r>
            <a:r>
              <a:rPr lang="en-US" sz="1400" dirty="0">
                <a:solidFill>
                  <a:schemeClr val="accent1"/>
                </a:solidFill>
                <a:latin typeface="Garamond"/>
              </a:rPr>
              <a:t>. At 15 years old, Victoria was one of the </a:t>
            </a:r>
            <a:r>
              <a:rPr lang="en-US" sz="1400" dirty="0" err="1">
                <a:solidFill>
                  <a:schemeClr val="accent1"/>
                </a:solidFill>
                <a:latin typeface="Garamond"/>
              </a:rPr>
              <a:t>Anzisha</a:t>
            </a:r>
            <a:r>
              <a:rPr lang="en-US" sz="1400" dirty="0">
                <a:solidFill>
                  <a:schemeClr val="accent1"/>
                </a:solidFill>
                <a:latin typeface="Garamond"/>
              </a:rPr>
              <a:t> Prize’s youngest finalist. She developed the </a:t>
            </a:r>
            <a:r>
              <a:rPr lang="en-US" sz="1400" dirty="0" err="1">
                <a:solidFill>
                  <a:schemeClr val="accent1"/>
                </a:solidFill>
                <a:latin typeface="Garamond"/>
              </a:rPr>
              <a:t>BizKids</a:t>
            </a:r>
            <a:r>
              <a:rPr lang="en-US" sz="1400" dirty="0">
                <a:solidFill>
                  <a:schemeClr val="accent1"/>
                </a:solidFill>
                <a:latin typeface="Garamond"/>
              </a:rPr>
              <a:t>' board game to address the lack of available Nigerian financial literacy content that is tailored specifically for children's learning needs.</a:t>
            </a:r>
            <a:r>
              <a:rPr lang="en-US" sz="1400" dirty="0">
                <a:latin typeface="Garamond" panose="02020404030301010803" pitchFamily="18" charset="0"/>
              </a:rPr>
              <a:t/>
            </a:r>
            <a:br>
              <a:rPr lang="en-US" sz="1400" dirty="0">
                <a:latin typeface="Garamond" panose="02020404030301010803" pitchFamily="18" charset="0"/>
              </a:rPr>
            </a:br>
            <a:endParaRPr lang="en-US" sz="1400" dirty="0">
              <a:solidFill>
                <a:schemeClr val="accent1"/>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endParaRPr lang="en-US" b="1" dirty="0">
              <a:solidFill>
                <a:schemeClr val="tx1"/>
              </a:solidFill>
              <a:latin typeface="Garamond" panose="02020404030301010803" pitchFamily="18" charset="0"/>
            </a:endParaRPr>
          </a:p>
          <a:p>
            <a:pPr lvl="1"/>
            <a:r>
              <a:rPr lang="en-US" b="1" dirty="0">
                <a:solidFill>
                  <a:schemeClr val="tx1"/>
                </a:solidFill>
                <a:latin typeface="Garamond"/>
              </a:rPr>
              <a:t>NAME OF BUSINESS: </a:t>
            </a:r>
            <a:r>
              <a:rPr lang="en-US" err="1">
                <a:solidFill>
                  <a:schemeClr val="tx1"/>
                </a:solidFill>
                <a:latin typeface="Garamond"/>
              </a:rPr>
              <a:t>BizKids</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err="1">
                <a:solidFill>
                  <a:schemeClr val="tx1"/>
                </a:solidFill>
                <a:latin typeface="Garamond"/>
              </a:rPr>
              <a:t>BizKids</a:t>
            </a:r>
            <a:r>
              <a:rPr lang="en-US" dirty="0">
                <a:solidFill>
                  <a:schemeClr val="tx1"/>
                </a:solidFill>
                <a:latin typeface="Garamond"/>
              </a:rPr>
              <a:t> is a board game</a:t>
            </a:r>
            <a:r>
              <a:rPr lang="en-US" b="1" dirty="0">
                <a:solidFill>
                  <a:schemeClr val="tx1"/>
                </a:solidFill>
                <a:latin typeface="Garamond"/>
              </a:rPr>
              <a:t> </a:t>
            </a:r>
            <a:r>
              <a:rPr lang="en-US" dirty="0">
                <a:solidFill>
                  <a:schemeClr val="tx1"/>
                </a:solidFill>
                <a:latin typeface="Garamond"/>
              </a:rPr>
              <a:t>designed to teach children about financial literacy, how to save money, and the rudimentary aspects of starting a small scale business in a fun and interactive gamified manner. </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Nigeria</a:t>
            </a:r>
          </a:p>
          <a:p>
            <a:pPr lvl="1"/>
            <a:r>
              <a:rPr lang="en-US" b="1" dirty="0">
                <a:solidFill>
                  <a:schemeClr val="tx1"/>
                </a:solidFill>
                <a:latin typeface="Garamond"/>
              </a:rPr>
              <a:t>JOBS CREATED (Full &amp; Part Time): </a:t>
            </a:r>
            <a:r>
              <a:rPr lang="en-US" dirty="0">
                <a:solidFill>
                  <a:schemeClr val="tx1"/>
                </a:solidFill>
                <a:latin typeface="Garamond"/>
              </a:rPr>
              <a:t>4</a:t>
            </a:r>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Victoria </a:t>
            </a:r>
            <a:r>
              <a:rPr lang="en-ZA" sz="1400" dirty="0" err="1">
                <a:solidFill>
                  <a:schemeClr val="tx1"/>
                </a:solidFill>
                <a:latin typeface="Garamond" panose="02020404030301010803" pitchFamily="18" charset="0"/>
              </a:rPr>
              <a:t>Olimatunde</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bizkids.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victoriaakinfolarin@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4 802 373 2526</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91025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F5CB25A1-C426-4DBC-8E45-DB8AE3A3923C}"/>
              </a:ext>
            </a:extLst>
          </p:cNvPr>
          <p:cNvGraphicFramePr>
            <a:graphicFrameLocks noChangeAspect="1"/>
          </p:cNvGraphicFramePr>
          <p:nvPr>
            <p:custDataLst>
              <p:tags r:id="rId2"/>
            </p:custDataLst>
            <p:extLst>
              <p:ext uri="{D42A27DB-BD31-4B8C-83A1-F6EECF244321}">
                <p14:modId xmlns:p14="http://schemas.microsoft.com/office/powerpoint/2010/main" val="3707521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367"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F5E5F046-CEB4-4001-84AF-F251D0C2F6B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AE053991-9873-4A51-964C-AA43497084BC}"/>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3710" b="7299"/>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5" name="Title 4"/>
          <p:cNvSpPr>
            <a:spLocks noGrp="1"/>
          </p:cNvSpPr>
          <p:nvPr>
            <p:ph type="title"/>
          </p:nvPr>
        </p:nvSpPr>
        <p:spPr>
          <a:xfrm>
            <a:off x="1007442" y="481818"/>
            <a:ext cx="11184558" cy="609600"/>
          </a:xfrm>
        </p:spPr>
        <p:txBody>
          <a:bodyPr anchor="t">
            <a:normAutofit/>
          </a:bodyPr>
          <a:lstStyle/>
          <a:p>
            <a:r>
              <a:rPr lang="en-ZA" sz="2800" b="1" dirty="0">
                <a:solidFill>
                  <a:srgbClr val="862624"/>
                </a:solidFill>
                <a:latin typeface="Garamond"/>
              </a:rPr>
              <a:t>Kolawole Olajide – </a:t>
            </a:r>
            <a:r>
              <a:rPr lang="en-ZA" sz="2800" b="1" dirty="0" err="1">
                <a:solidFill>
                  <a:srgbClr val="862624"/>
                </a:solidFill>
                <a:latin typeface="Garamond"/>
              </a:rPr>
              <a:t>BridgeLabs</a:t>
            </a:r>
            <a:r>
              <a:rPr lang="en-ZA" sz="2800" b="1" dirty="0">
                <a:solidFill>
                  <a:srgbClr val="862624"/>
                </a:solidFill>
                <a:latin typeface="Garamond"/>
              </a:rPr>
              <a:t>: Software development</a:t>
            </a:r>
            <a:endParaRPr lang="en-US" sz="2800" b="1" dirty="0">
              <a:solidFill>
                <a:srgbClr val="862624"/>
              </a:solidFill>
            </a:endParaRPr>
          </a:p>
        </p:txBody>
      </p:sp>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KOLA</a:t>
            </a:r>
          </a:p>
          <a:p>
            <a:pPr algn="ctr"/>
            <a:r>
              <a:rPr lang="en-ZA" sz="1400" dirty="0">
                <a:solidFill>
                  <a:srgbClr val="862624"/>
                </a:solidFill>
                <a:latin typeface="Garamond" panose="02020404030301010803" pitchFamily="18" charset="0"/>
              </a:rPr>
              <a:t>Kola co-founded Bridge Labs because of his passion for building high-quality technology products designed to enable forward-thinking organizations to compete and perform in the 21st century. He has extensive experience as the technical lead for several major projects including: The African Leadership University, the University of Pretoria and the Western Cape government. He is a Microsoft technology partner and has received multiple innovation awards—most notably a R500,000 innovation prize at the annual SAB innovation awards and United Nations recognition for best innovation in education.</a:t>
            </a:r>
            <a:endParaRPr lang="en-US" sz="14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BridgeLabs</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ACTIVITIES: </a:t>
            </a:r>
            <a:r>
              <a:rPr lang="en-ZA" dirty="0" err="1">
                <a:solidFill>
                  <a:schemeClr val="tx1"/>
                </a:solidFill>
                <a:latin typeface="Garamond" panose="02020404030301010803" pitchFamily="18" charset="0"/>
              </a:rPr>
              <a:t>BridgeLabs</a:t>
            </a:r>
            <a:r>
              <a:rPr lang="en-ZA" dirty="0">
                <a:solidFill>
                  <a:schemeClr val="tx1"/>
                </a:solidFill>
                <a:latin typeface="Garamond" panose="02020404030301010803" pitchFamily="18" charset="0"/>
              </a:rPr>
              <a:t> provides digital transformation services for forward thinking organizations across multiple sector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South Afric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20</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Kola Olajide </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bridgelabs.design</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kola@bridgelabs.design</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7 79 942 5095</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656653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25065FB-7723-4FB2-8B52-CC084D8EA1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8744"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925065FB-7723-4FB2-8B52-CC084D8EA1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C4ECFAAF-CEE2-4041-8F03-88774A89816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1729DD23-3B30-4AB6-8EC0-8E16439F4C0F}"/>
              </a:ext>
            </a:extLst>
          </p:cNvPr>
          <p:cNvSpPr/>
          <p:nvPr/>
        </p:nvSpPr>
        <p:spPr>
          <a:xfrm>
            <a:off x="105551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500" b="1" dirty="0">
                <a:solidFill>
                  <a:srgbClr val="862624"/>
                </a:solidFill>
                <a:latin typeface="Garamond"/>
              </a:rPr>
              <a:t>Emmanuel Agyei – Campus Trends Ghana: Marketing &amp; communications</a:t>
            </a:r>
            <a:endParaRPr lang="en-US" sz="2500" b="1" dirty="0">
              <a:solidFill>
                <a:srgbClr val="862624"/>
              </a:solidFill>
            </a:endParaRPr>
          </a:p>
        </p:txBody>
      </p:sp>
      <p:pic>
        <p:nvPicPr>
          <p:cNvPr id="2" name="Picture 1"/>
          <p:cNvPicPr preferRelativeResize="0">
            <a:picLocks/>
          </p:cNvPicPr>
          <p:nvPr/>
        </p:nvPicPr>
        <p:blipFill rotWithShape="1">
          <a:blip r:embed="rId7" cstate="print">
            <a:extLst>
              <a:ext uri="{28A0092B-C50C-407E-A947-70E740481C1C}">
                <a14:useLocalDpi xmlns:a14="http://schemas.microsoft.com/office/drawing/2010/main" val="0"/>
              </a:ext>
            </a:extLst>
          </a:blip>
          <a:srcRect t="1000" r="2597" b="24000"/>
          <a:stretch/>
        </p:blipFill>
        <p:spPr>
          <a:xfrm>
            <a:off x="1293711" y="1879720"/>
            <a:ext cx="2729249"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EMMANUEL</a:t>
            </a:r>
          </a:p>
          <a:p>
            <a:pPr algn="ctr"/>
            <a:r>
              <a:rPr lang="en-US" sz="1400" dirty="0">
                <a:solidFill>
                  <a:srgbClr val="862624"/>
                </a:solidFill>
                <a:latin typeface="Garamond"/>
              </a:rPr>
              <a:t>Emmanuel Agyei was always interested in journalism especially since his father is a journalist. However, his uncle managed to shift his focus to a world of technology and marketing. It was then he realized the importance of communication and information tools within organizations. Thus, bringing to life Campus Trends Ghana, which he co-founded.</a:t>
            </a:r>
            <a:endParaRPr lang="en-ZA" sz="14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Campus Trends Ghana </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Campus Trends Ghana is a marketing firm that provides qualitative advice and communications services to bridge the gap between firms and the student market.</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Ghana</a:t>
            </a:r>
          </a:p>
          <a:p>
            <a:pPr lvl="1"/>
            <a:r>
              <a:rPr lang="en-US" b="1" dirty="0">
                <a:solidFill>
                  <a:schemeClr val="tx1"/>
                </a:solidFill>
                <a:latin typeface="Garamond"/>
              </a:rPr>
              <a:t>JOBS CREATED (Full &amp; Part Time): </a:t>
            </a:r>
            <a:r>
              <a:rPr lang="en-US" dirty="0">
                <a:solidFill>
                  <a:schemeClr val="tx1"/>
                </a:solidFill>
                <a:latin typeface="Garamond"/>
              </a:rPr>
              <a:t>605</a:t>
            </a:r>
            <a:endParaRPr lang="en-US" dirty="0">
              <a:solidFill>
                <a:schemeClr val="tx1"/>
              </a:solidFill>
            </a:endParaRPr>
          </a:p>
        </p:txBody>
      </p:sp>
      <p:sp>
        <p:nvSpPr>
          <p:cNvPr id="4" name="Rectangular Callout 3"/>
          <p:cNvSpPr/>
          <p:nvPr/>
        </p:nvSpPr>
        <p:spPr>
          <a:xfrm>
            <a:off x="105551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Emmanuel </a:t>
            </a:r>
            <a:r>
              <a:rPr lang="en-ZA" sz="1400" dirty="0" err="1">
                <a:solidFill>
                  <a:schemeClr val="tx1"/>
                </a:solidFill>
                <a:latin typeface="Garamond" panose="02020404030301010803" pitchFamily="18" charset="0"/>
              </a:rPr>
              <a:t>Agyei</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linkedin.com/in/emmanuel-owusu-agyei-ampem-b64693117/</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ction="ppaction://hlinksldjump"/>
              </a:rPr>
              <a:t>campustrendgh@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3 24 634 1762</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058473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7051FCD-8E87-4AD5-B767-294E32FCF0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5355"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B7051FCD-8E87-4AD5-B767-294E32FCF0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E48D891F-11C7-4712-A453-6F81FEB0BF8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FE32B798-24E0-4682-870C-2EBB765AF0E6}"/>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800" b="1" dirty="0" err="1">
                <a:solidFill>
                  <a:srgbClr val="862624"/>
                </a:solidFill>
                <a:latin typeface="Garamond"/>
              </a:rPr>
              <a:t>Velache</a:t>
            </a:r>
            <a:r>
              <a:rPr lang="en-ZA" sz="2800" b="1" dirty="0">
                <a:solidFill>
                  <a:srgbClr val="862624"/>
                </a:solidFill>
                <a:latin typeface="Garamond"/>
              </a:rPr>
              <a:t> Coker – Canaan Farm Limited: </a:t>
            </a:r>
            <a:r>
              <a:rPr lang="en-ZA" sz="2800" b="1">
                <a:solidFill>
                  <a:srgbClr val="862624"/>
                </a:solidFill>
                <a:latin typeface="Garamond"/>
              </a:rPr>
              <a:t>Agri-Tech</a:t>
            </a:r>
            <a:r>
              <a:rPr lang="en-ZA" sz="2800" b="1" dirty="0">
                <a:solidFill>
                  <a:srgbClr val="862624"/>
                </a:solidFill>
                <a:latin typeface="Garamond"/>
              </a:rPr>
              <a:t> company</a:t>
            </a:r>
            <a:endParaRPr lang="en-US" sz="2800" b="1">
              <a:solidFill>
                <a:srgbClr val="862624"/>
              </a:solidFill>
              <a:latin typeface="Garamond"/>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1916" t="9461" r="27892" b="9461"/>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VELACHE</a:t>
            </a:r>
          </a:p>
          <a:p>
            <a:pPr algn="ctr"/>
            <a:r>
              <a:rPr lang="en-US" sz="1400" dirty="0" err="1">
                <a:solidFill>
                  <a:srgbClr val="862624"/>
                </a:solidFill>
                <a:latin typeface="Garamond" panose="02020404030301010803" pitchFamily="18" charset="0"/>
              </a:rPr>
              <a:t>Velache</a:t>
            </a:r>
            <a:r>
              <a:rPr lang="en-US" sz="1400" dirty="0">
                <a:solidFill>
                  <a:srgbClr val="862624"/>
                </a:solidFill>
                <a:latin typeface="Garamond" panose="02020404030301010803" pitchFamily="18" charset="0"/>
              </a:rPr>
              <a:t> wanted to become a professional footballer. However, after some false starts in the football space, he found himself pursuing entrepreneurship. While spending some time in Gambia with his family, he became aware of the agricultural issues within his home country (Sierra Leone). By the age of 19, he had started three businesses but he now only continues to operate Canaan Farm Limited.</a:t>
            </a:r>
            <a:endParaRPr lang="en-US" sz="1400" dirty="0">
              <a:solidFill>
                <a:srgbClr val="862624"/>
              </a:solidFill>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Canaan Farm Limited</a:t>
            </a:r>
          </a:p>
          <a:p>
            <a:pPr lvl="1"/>
            <a:r>
              <a:rPr lang="en-US" b="1" dirty="0">
                <a:solidFill>
                  <a:schemeClr val="tx1"/>
                </a:solidFill>
                <a:latin typeface="Garamond"/>
              </a:rPr>
              <a:t>BUSINESS ACTIVITIES: </a:t>
            </a:r>
            <a:r>
              <a:rPr lang="en-US" dirty="0">
                <a:solidFill>
                  <a:schemeClr val="tx1"/>
                </a:solidFill>
                <a:latin typeface="Garamond"/>
              </a:rPr>
              <a:t>Canaan Farm Limited is involved in food production, logistics, fintech, big data, fish smoking, fish farming and horticulture. </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Sierra Leone</a:t>
            </a:r>
          </a:p>
          <a:p>
            <a:pPr lvl="1"/>
            <a:r>
              <a:rPr lang="en-US" b="1" dirty="0">
                <a:solidFill>
                  <a:schemeClr val="tx1"/>
                </a:solidFill>
                <a:latin typeface="Garamond"/>
              </a:rPr>
              <a:t>JOBS CREATED (Full &amp; Part Time): </a:t>
            </a:r>
            <a:r>
              <a:rPr lang="en-US" dirty="0">
                <a:solidFill>
                  <a:schemeClr val="tx1"/>
                </a:solidFill>
                <a:latin typeface="Garamond"/>
              </a:rPr>
              <a:t>50</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Velache Coker </a:t>
            </a:r>
          </a:p>
          <a:p>
            <a:r>
              <a:rPr lang="en-US" sz="1400" b="1" dirty="0">
                <a:solidFill>
                  <a:schemeClr val="tx1"/>
                </a:solidFill>
                <a:latin typeface="Garamond" panose="02020404030301010803" pitchFamily="18" charset="0"/>
              </a:rPr>
              <a:t>Website: </a:t>
            </a:r>
            <a:r>
              <a:rPr lang="en-US" sz="1400" dirty="0">
                <a:solidFill>
                  <a:schemeClr val="tx1"/>
                </a:solidFill>
                <a:latin typeface="Garamond" panose="02020404030301010803" pitchFamily="18" charset="0"/>
                <a:hlinkClick r:id="rId8"/>
              </a:rPr>
              <a:t>https://www.linkedin.com/in/velache-coker-00a808195/</a:t>
            </a:r>
            <a:r>
              <a:rPr lang="en-US" sz="1400" dirty="0">
                <a:solidFill>
                  <a:schemeClr val="tx1"/>
                </a:solidFill>
                <a:latin typeface="Garamond" panose="02020404030301010803" pitchFamily="18" charset="0"/>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Cannan.farm@yahoo.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2 791 750 93</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389870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7970D173-D27C-409D-8D3E-DC2ED4E84E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372"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xmlns="" id="{7970D173-D27C-409D-8D3E-DC2ED4E84E7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FCA9CD4C-2600-4716-9985-813ABED96C5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BD9A26BE-6ACE-4F5C-B094-CE052FC1FB39}"/>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536857" cy="609600"/>
          </a:xfrm>
        </p:spPr>
        <p:txBody>
          <a:bodyPr anchor="t">
            <a:noAutofit/>
          </a:bodyPr>
          <a:lstStyle/>
          <a:p>
            <a:r>
              <a:rPr lang="en-ZA" sz="2800" b="1" dirty="0" err="1">
                <a:solidFill>
                  <a:srgbClr val="862624"/>
                </a:solidFill>
                <a:latin typeface="Garamond"/>
              </a:rPr>
              <a:t>Jessan</a:t>
            </a:r>
            <a:r>
              <a:rPr lang="en-ZA" sz="2800" b="1" dirty="0">
                <a:solidFill>
                  <a:srgbClr val="862624"/>
                </a:solidFill>
                <a:latin typeface="Garamond"/>
              </a:rPr>
              <a:t> </a:t>
            </a:r>
            <a:r>
              <a:rPr lang="en-ZA" sz="2800" b="1" dirty="0" err="1">
                <a:solidFill>
                  <a:srgbClr val="862624"/>
                </a:solidFill>
                <a:latin typeface="Garamond"/>
              </a:rPr>
              <a:t>Persand</a:t>
            </a:r>
            <a:r>
              <a:rPr lang="en-ZA" sz="2800" b="1" dirty="0">
                <a:solidFill>
                  <a:srgbClr val="862624"/>
                </a:solidFill>
                <a:latin typeface="Garamond"/>
              </a:rPr>
              <a:t> – Crab Aquaculture: Seafood supplier</a:t>
            </a:r>
            <a:endParaRPr lang="en-US" sz="2800" b="1" dirty="0">
              <a:solidFill>
                <a:srgbClr val="862624"/>
              </a:solidFill>
            </a:endParaRPr>
          </a:p>
        </p:txBody>
      </p:sp>
      <p:pic>
        <p:nvPicPr>
          <p:cNvPr id="2" name="Picture 1"/>
          <p:cNvPicPr>
            <a:picLocks noChangeAspect="1"/>
          </p:cNvPicPr>
          <p:nvPr/>
        </p:nvPicPr>
        <p:blipFill rotWithShape="1">
          <a:blip r:embed="rId8" cstate="print">
            <a:extLst>
              <a:ext uri="{28A0092B-C50C-407E-A947-70E740481C1C}">
                <a14:useLocalDpi xmlns:a14="http://schemas.microsoft.com/office/drawing/2010/main" val="0"/>
              </a:ext>
            </a:extLst>
          </a:blip>
          <a:srcRect l="11385" t="4230" r="43460" b="36920"/>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JESSAN</a:t>
            </a:r>
          </a:p>
          <a:p>
            <a:pPr algn="ctr"/>
            <a:r>
              <a:rPr lang="en-US" sz="1400" dirty="0" err="1">
                <a:solidFill>
                  <a:srgbClr val="862624"/>
                </a:solidFill>
                <a:latin typeface="Garamond" panose="02020404030301010803" pitchFamily="18" charset="0"/>
              </a:rPr>
              <a:t>Jessan</a:t>
            </a:r>
            <a:r>
              <a:rPr lang="en-US" sz="1400" dirty="0">
                <a:solidFill>
                  <a:srgbClr val="862624"/>
                </a:solidFill>
                <a:latin typeface="Garamond" panose="02020404030301010803" pitchFamily="18" charset="0"/>
              </a:rPr>
              <a:t> had always dreamed of launching his own business. He observed that there was a lack of fresh crabs in the local market and then decided to make his dream come true and start his own company through mud crab farming in Mauritius. </a:t>
            </a:r>
            <a:endParaRPr lang="en-US" sz="1400" dirty="0">
              <a:solidFill>
                <a:srgbClr val="862624"/>
              </a:solidFill>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Crab Aquaculture</a:t>
            </a:r>
          </a:p>
          <a:p>
            <a:pPr lvl="1"/>
            <a:r>
              <a:rPr lang="en-US" b="1" dirty="0">
                <a:solidFill>
                  <a:schemeClr val="tx1"/>
                </a:solidFill>
                <a:latin typeface="Garamond" panose="02020404030301010803" pitchFamily="18" charset="0"/>
              </a:rPr>
              <a:t>BUSINESS ACTIVITIES: </a:t>
            </a:r>
            <a:r>
              <a:rPr lang="en-ZA" dirty="0">
                <a:solidFill>
                  <a:schemeClr val="tx1"/>
                </a:solidFill>
                <a:latin typeface="Garamond" panose="02020404030301010803" pitchFamily="18" charset="0"/>
              </a:rPr>
              <a:t>Crab Aquaculture</a:t>
            </a:r>
            <a:r>
              <a:rPr lang="en-US" dirty="0">
                <a:solidFill>
                  <a:schemeClr val="tx1"/>
                </a:solidFill>
                <a:latin typeface="Garamond" panose="02020404030301010803" pitchFamily="18" charset="0"/>
              </a:rPr>
              <a:t> is a mud crab farming business, which supplies crabs and other seafood to restaurants and household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Mauritius</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6</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Jessan</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Persand</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US" sz="1400" dirty="0">
                <a:solidFill>
                  <a:schemeClr val="tx1"/>
                </a:solidFill>
                <a:latin typeface="Garamond" panose="02020404030301010803" pitchFamily="18" charset="0"/>
                <a:hlinkClick r:id="rId9"/>
              </a:rPr>
              <a:t>https://www.linkedin.com/in/jessan-kumar-persand-41b530150/</a:t>
            </a:r>
            <a:r>
              <a:rPr lang="en-US" sz="1400" dirty="0">
                <a:solidFill>
                  <a:schemeClr val="tx1"/>
                </a:solidFill>
                <a:latin typeface="Garamond" panose="02020404030301010803" pitchFamily="18" charset="0"/>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rPr>
              <a:t>persandjessan@gmail.com</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6 755 151 527</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474180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65EFCFDA-5338-4939-8389-8D990D77A4A6}"/>
              </a:ext>
            </a:extLst>
          </p:cNvPr>
          <p:cNvGraphicFramePr>
            <a:graphicFrameLocks noChangeAspect="1"/>
          </p:cNvGraphicFramePr>
          <p:nvPr>
            <p:custDataLst>
              <p:tags r:id="rId2"/>
            </p:custDataLst>
            <p:extLst>
              <p:ext uri="{D42A27DB-BD31-4B8C-83A1-F6EECF244321}">
                <p14:modId xmlns:p14="http://schemas.microsoft.com/office/powerpoint/2010/main" val="60864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391"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764A8993-B3B6-4572-9E5A-839B26108DB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1D0E9A81-0CB5-45FC-9F0B-555B982318C7}"/>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rmAutofit/>
          </a:bodyPr>
          <a:lstStyle/>
          <a:p>
            <a:r>
              <a:rPr lang="en-ZA" sz="2800" b="1" dirty="0">
                <a:solidFill>
                  <a:srgbClr val="862624"/>
                </a:solidFill>
                <a:latin typeface="Garamond"/>
              </a:rPr>
              <a:t>Mabel </a:t>
            </a:r>
            <a:r>
              <a:rPr lang="en-ZA" sz="2800" b="1" dirty="0" err="1">
                <a:solidFill>
                  <a:srgbClr val="862624"/>
                </a:solidFill>
                <a:latin typeface="Garamond"/>
              </a:rPr>
              <a:t>Suglo</a:t>
            </a:r>
            <a:r>
              <a:rPr lang="en-ZA" sz="2800" b="1" dirty="0">
                <a:solidFill>
                  <a:srgbClr val="862624"/>
                </a:solidFill>
                <a:latin typeface="Garamond"/>
              </a:rPr>
              <a:t> – Dignified Wear: Clothing  </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b="13113"/>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MABEL</a:t>
            </a:r>
          </a:p>
          <a:p>
            <a:pPr algn="ctr"/>
            <a:r>
              <a:rPr lang="en-US" sz="1400" dirty="0">
                <a:solidFill>
                  <a:srgbClr val="862624"/>
                </a:solidFill>
                <a:latin typeface="Garamond" panose="02020404030301010803" pitchFamily="18" charset="0"/>
              </a:rPr>
              <a:t>Mabel is a social entrepreneur who founded Dignified Wear. Her Grandmother, a single mother who lived with leprosy, was the inspiration for Mabel to start her business and to employ and uplift persons with disabilities and rural women.</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Dignified Wear</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Dignified Wear is a social enterprise that trains and employs people with disabilities and rural women to manufacture durable, versatile and fashionable shoes, handbags, locally woven fabrics and jewellery. The products they sell are made from recycled tires, scrap fabrics, cotton threads, recycled glass and acrylic beads.</a:t>
            </a:r>
            <a:r>
              <a:rPr lang="en-US" dirty="0"/>
              <a:t> </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Ghan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0</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Mabel </a:t>
            </a:r>
            <a:r>
              <a:rPr lang="en-ZA" sz="1400" dirty="0" err="1">
                <a:solidFill>
                  <a:schemeClr val="tx1"/>
                </a:solidFill>
                <a:latin typeface="Garamond" panose="02020404030301010803" pitchFamily="18" charset="0"/>
              </a:rPr>
              <a:t>Suglo</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dignifiedwear.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u="sng" dirty="0">
                <a:latin typeface="Garamond" panose="02020404030301010803" pitchFamily="18" charset="0"/>
                <a:hlinkClick r:id="rId9"/>
              </a:rPr>
              <a:t>mabels@dignifiedwear.com</a:t>
            </a:r>
            <a:r>
              <a:rPr lang="en-ZA" sz="1400" dirty="0">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3 20 742 3532</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6591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C00830D4-AC04-4CDA-9DB4-66503EBB6CB9}"/>
              </a:ext>
            </a:extLst>
          </p:cNvPr>
          <p:cNvGraphicFramePr>
            <a:graphicFrameLocks noChangeAspect="1"/>
          </p:cNvGraphicFramePr>
          <p:nvPr>
            <p:custDataLst>
              <p:tags r:id="rId2"/>
            </p:custDataLst>
            <p:extLst>
              <p:ext uri="{D42A27DB-BD31-4B8C-83A1-F6EECF244321}">
                <p14:modId xmlns:p14="http://schemas.microsoft.com/office/powerpoint/2010/main" val="289264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031"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EC878D11-79EA-40F7-95FB-CBE91C47EA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Garamond" panose="02020404030301010803" pitchFamily="18" charset="0"/>
              <a:ea typeface="+mj-ea"/>
              <a:cs typeface="+mj-cs"/>
              <a:sym typeface="Garamond" panose="02020404030301010803" pitchFamily="18" charset="0"/>
            </a:endParaRPr>
          </a:p>
        </p:txBody>
      </p:sp>
      <p:sp>
        <p:nvSpPr>
          <p:cNvPr id="3" name="Title 2"/>
          <p:cNvSpPr>
            <a:spLocks noGrp="1"/>
          </p:cNvSpPr>
          <p:nvPr>
            <p:ph type="title"/>
          </p:nvPr>
        </p:nvSpPr>
        <p:spPr>
          <a:xfrm>
            <a:off x="1058739" y="543385"/>
            <a:ext cx="9580881" cy="609600"/>
          </a:xfrm>
        </p:spPr>
        <p:txBody>
          <a:bodyPr>
            <a:normAutofit/>
          </a:bodyPr>
          <a:lstStyle/>
          <a:p>
            <a:r>
              <a:rPr lang="en-US" altLang="ja-JP" sz="2800" b="1" dirty="0">
                <a:solidFill>
                  <a:srgbClr val="862624"/>
                </a:solidFill>
              </a:rPr>
              <a:t>COVID - 19 BUSINESSES SUPPORT:</a:t>
            </a:r>
            <a:endParaRPr lang="ja-JP" altLang="en-US" sz="2800" b="1" dirty="0">
              <a:solidFill>
                <a:srgbClr val="862624"/>
              </a:solidFill>
            </a:endParaRPr>
          </a:p>
        </p:txBody>
      </p:sp>
      <p:sp>
        <p:nvSpPr>
          <p:cNvPr id="14" name="TextBox 13"/>
          <p:cNvSpPr txBox="1"/>
          <p:nvPr/>
        </p:nvSpPr>
        <p:spPr>
          <a:xfrm>
            <a:off x="837968" y="1303896"/>
            <a:ext cx="4452017" cy="307777"/>
          </a:xfrm>
          <a:prstGeom prst="rect">
            <a:avLst/>
          </a:prstGeom>
          <a:noFill/>
        </p:spPr>
        <p:txBody>
          <a:bodyPr wrap="square" rtlCol="0">
            <a:spAutoFit/>
          </a:bodyPr>
          <a:lstStyle/>
          <a:p>
            <a:endParaRPr lang="en-US" sz="1400" dirty="0">
              <a:latin typeface="Garamond" panose="02020404030301010803" pitchFamily="18" charset="0"/>
            </a:endParaRPr>
          </a:p>
        </p:txBody>
      </p:sp>
      <p:pic>
        <p:nvPicPr>
          <p:cNvPr id="4" name="Picture 3">
            <a:extLst>
              <a:ext uri="{FF2B5EF4-FFF2-40B4-BE49-F238E27FC236}">
                <a16:creationId xmlns:a16="http://schemas.microsoft.com/office/drawing/2014/main" xmlns="" id="{44EFDD3D-57A0-6746-B2A0-5C860A06B33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77899" y="1654501"/>
            <a:ext cx="5412169" cy="2592000"/>
          </a:xfrm>
          <a:prstGeom prst="rect">
            <a:avLst/>
          </a:prstGeom>
        </p:spPr>
      </p:pic>
      <p:sp>
        <p:nvSpPr>
          <p:cNvPr id="7" name="TextBox 6">
            <a:extLst>
              <a:ext uri="{FF2B5EF4-FFF2-40B4-BE49-F238E27FC236}">
                <a16:creationId xmlns:a16="http://schemas.microsoft.com/office/drawing/2014/main" xmlns="" id="{7D8A3445-12E1-BA42-89F6-72553F73856C}"/>
              </a:ext>
            </a:extLst>
          </p:cNvPr>
          <p:cNvSpPr txBox="1"/>
          <p:nvPr/>
        </p:nvSpPr>
        <p:spPr>
          <a:xfrm>
            <a:off x="6751846" y="1611673"/>
            <a:ext cx="3824714" cy="2677656"/>
          </a:xfrm>
          <a:prstGeom prst="rect">
            <a:avLst/>
          </a:prstGeom>
          <a:noFill/>
        </p:spPr>
        <p:txBody>
          <a:bodyPr wrap="square" rtlCol="0" anchor="t">
            <a:spAutoFit/>
          </a:bodyPr>
          <a:lstStyle/>
          <a:p>
            <a:pPr algn="just"/>
            <a:r>
              <a:rPr lang="en-US" sz="1400" dirty="0">
                <a:latin typeface="Garamond"/>
              </a:rPr>
              <a:t>As </a:t>
            </a:r>
            <a:r>
              <a:rPr lang="en-US" sz="1400" dirty="0" err="1">
                <a:latin typeface="Garamond"/>
              </a:rPr>
              <a:t>Anzisha</a:t>
            </a:r>
            <a:r>
              <a:rPr lang="en-US" sz="1400" dirty="0">
                <a:latin typeface="Garamond"/>
              </a:rPr>
              <a:t> fellows and their employees, beneficiaries and partner </a:t>
            </a:r>
            <a:r>
              <a:rPr lang="en-US" sz="1400">
                <a:latin typeface="Garamond"/>
              </a:rPr>
              <a:t>organizations</a:t>
            </a:r>
            <a:r>
              <a:rPr lang="en-US" sz="1400" dirty="0">
                <a:latin typeface="Garamond"/>
              </a:rPr>
              <a:t> weather this unprecedented Pandemic, The </a:t>
            </a:r>
            <a:r>
              <a:rPr lang="en-US" sz="1400" dirty="0" err="1">
                <a:latin typeface="Garamond"/>
              </a:rPr>
              <a:t>Anzisha</a:t>
            </a:r>
            <a:r>
              <a:rPr lang="en-US" sz="1400" dirty="0">
                <a:latin typeface="Garamond"/>
              </a:rPr>
              <a:t> Prize Program has compiled the fellow directory for our community to identify opportunities to support fellow businesses.</a:t>
            </a:r>
          </a:p>
          <a:p>
            <a:pPr algn="just"/>
            <a:endParaRPr lang="en-US" sz="1400" dirty="0">
              <a:latin typeface="Garamond" panose="02020404030301010803" pitchFamily="18" charset="0"/>
            </a:endParaRPr>
          </a:p>
          <a:p>
            <a:pPr algn="just"/>
            <a:r>
              <a:rPr lang="en-US" sz="1400" dirty="0">
                <a:latin typeface="Garamond" panose="02020404030301010803" pitchFamily="18" charset="0"/>
              </a:rPr>
              <a:t>The coronavirus or COVID-19 pandemic has caused massive disruption for businesses in our community. Shops and businesses are closed or not operating as usual and many people are not working or are working remotely.</a:t>
            </a:r>
          </a:p>
        </p:txBody>
      </p:sp>
      <p:sp>
        <p:nvSpPr>
          <p:cNvPr id="9" name="TextBox 8">
            <a:extLst>
              <a:ext uri="{FF2B5EF4-FFF2-40B4-BE49-F238E27FC236}">
                <a16:creationId xmlns:a16="http://schemas.microsoft.com/office/drawing/2014/main" xmlns="" id="{7D8A3445-12E1-BA42-89F6-72553F73856C}"/>
              </a:ext>
            </a:extLst>
          </p:cNvPr>
          <p:cNvSpPr txBox="1"/>
          <p:nvPr/>
        </p:nvSpPr>
        <p:spPr>
          <a:xfrm>
            <a:off x="995679" y="4511450"/>
            <a:ext cx="9580881" cy="1200329"/>
          </a:xfrm>
          <a:prstGeom prst="rect">
            <a:avLst/>
          </a:prstGeom>
          <a:noFill/>
        </p:spPr>
        <p:txBody>
          <a:bodyPr wrap="square" rtlCol="0">
            <a:spAutoFit/>
          </a:bodyPr>
          <a:lstStyle/>
          <a:p>
            <a:pPr algn="just"/>
            <a:r>
              <a:rPr lang="en-US" sz="1400" dirty="0">
                <a:latin typeface="Garamond" panose="02020404030301010803" pitchFamily="18" charset="0"/>
              </a:rPr>
              <a:t>The immediate and long-term needs of </a:t>
            </a:r>
            <a:r>
              <a:rPr lang="en-US" sz="1400" dirty="0" err="1">
                <a:latin typeface="Garamond" panose="02020404030301010803" pitchFamily="18" charset="0"/>
              </a:rPr>
              <a:t>Anzisha</a:t>
            </a:r>
            <a:r>
              <a:rPr lang="en-US" sz="1400" dirty="0">
                <a:latin typeface="Garamond" panose="02020404030301010803" pitchFamily="18" charset="0"/>
              </a:rPr>
              <a:t> fellow businesses are of utmost importance right now. Many communities rely on them. Not only for the services and goods they provide, but the jobs they create and the numerous contributions they, their employees and their families make to the economy of the communities they operate in.</a:t>
            </a:r>
          </a:p>
          <a:p>
            <a:pPr algn="ctr"/>
            <a:r>
              <a:rPr lang="en-US" sz="1600" b="1" dirty="0">
                <a:solidFill>
                  <a:srgbClr val="862624"/>
                </a:solidFill>
                <a:latin typeface="Garamond" panose="02020404030301010803" pitchFamily="18" charset="0"/>
              </a:rPr>
              <a:t>These are unprecedented times, but we are optimistic that </a:t>
            </a:r>
            <a:r>
              <a:rPr lang="en-US" sz="1600" b="1" dirty="0" err="1">
                <a:solidFill>
                  <a:srgbClr val="862624"/>
                </a:solidFill>
                <a:latin typeface="Garamond" panose="02020404030301010803" pitchFamily="18" charset="0"/>
              </a:rPr>
              <a:t>Anzisha</a:t>
            </a:r>
            <a:r>
              <a:rPr lang="en-US" sz="1600" b="1" dirty="0">
                <a:solidFill>
                  <a:srgbClr val="862624"/>
                </a:solidFill>
                <a:latin typeface="Garamond" panose="02020404030301010803" pitchFamily="18" charset="0"/>
              </a:rPr>
              <a:t> fellow run businesses will bounce back.</a:t>
            </a:r>
          </a:p>
          <a:p>
            <a:pPr algn="just"/>
            <a:endParaRPr lang="en-US" sz="1400" dirty="0">
              <a:latin typeface="Garamond" panose="02020404030301010803" pitchFamily="18" charset="0"/>
            </a:endParaRPr>
          </a:p>
        </p:txBody>
      </p:sp>
      <p:sp>
        <p:nvSpPr>
          <p:cNvPr id="2" name="Rectangle 1"/>
          <p:cNvSpPr/>
          <p:nvPr/>
        </p:nvSpPr>
        <p:spPr>
          <a:xfrm>
            <a:off x="1077899" y="5711779"/>
            <a:ext cx="9561721" cy="531403"/>
          </a:xfrm>
          <a:prstGeom prst="rect">
            <a:avLst/>
          </a:prstGeom>
          <a:solidFill>
            <a:schemeClr val="accent6">
              <a:lumMod val="10000"/>
              <a:lumOff val="90000"/>
            </a:schemeClr>
          </a:solidFill>
          <a:ln>
            <a:solidFill>
              <a:schemeClr val="accent6">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862624"/>
                </a:solidFill>
                <a:latin typeface="Garamond" panose="02020404030301010803" pitchFamily="18" charset="0"/>
              </a:rPr>
              <a:t>We encourage you to look through this directory for a list of all the fellow businesses in our community and to reach out to those you believe you are best positioned to extend support to. </a:t>
            </a:r>
            <a:endParaRPr lang="en-US" sz="1400" b="1" dirty="0">
              <a:solidFill>
                <a:srgbClr val="862624"/>
              </a:solidFill>
            </a:endParaRPr>
          </a:p>
        </p:txBody>
      </p:sp>
    </p:spTree>
    <p:extLst>
      <p:ext uri="{BB962C8B-B14F-4D97-AF65-F5344CB8AC3E}">
        <p14:creationId xmlns:p14="http://schemas.microsoft.com/office/powerpoint/2010/main" val="176774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84AE4F6B-36F6-4DEA-86B2-F647A3F015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201"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84AE4F6B-36F6-4DEA-86B2-F647A3F015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8ACAD785-D1B8-44E5-99BB-47FCED1EB6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3091041D-7193-43E7-AF3A-63929286907C}"/>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a:solidFill>
                  <a:srgbClr val="862624"/>
                </a:solidFill>
              </a:rPr>
              <a:t>Cecil Chikezie– Eco </a:t>
            </a:r>
            <a:r>
              <a:rPr lang="en-ZA" sz="2800" b="1" dirty="0" err="1">
                <a:solidFill>
                  <a:srgbClr val="862624"/>
                </a:solidFill>
              </a:rPr>
              <a:t>Makaa</a:t>
            </a:r>
            <a:r>
              <a:rPr lang="en-ZA" sz="2800" b="1" dirty="0">
                <a:solidFill>
                  <a:srgbClr val="862624"/>
                </a:solidFill>
              </a:rPr>
              <a:t>: Charcoal briquettes</a:t>
            </a:r>
            <a:endParaRPr lang="en-US" sz="2800" b="1" dirty="0">
              <a:solidFill>
                <a:srgbClr val="862624"/>
              </a:solidFill>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15358" t="1773" r="13970" b="9895"/>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02823"/>
            <a:ext cx="6448098" cy="1882062"/>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a:rPr>
              <a:t> ABOUT CECIL</a:t>
            </a:r>
            <a:endParaRPr lang="en-US" sz="1600" b="1" dirty="0">
              <a:solidFill>
                <a:srgbClr val="862624"/>
              </a:solidFill>
              <a:latin typeface="Garamond" panose="02020404030301010803" pitchFamily="18" charset="0"/>
            </a:endParaRPr>
          </a:p>
          <a:p>
            <a:pPr algn="ctr"/>
            <a:r>
              <a:rPr lang="en-US" sz="1400" dirty="0">
                <a:solidFill>
                  <a:schemeClr val="accent1"/>
                </a:solidFill>
                <a:latin typeface="Garamond"/>
              </a:rPr>
              <a:t>Cecil is a final year Mechanical Engineering student and the founder of Eco </a:t>
            </a:r>
            <a:r>
              <a:rPr lang="en-US" sz="1400" dirty="0" err="1">
                <a:solidFill>
                  <a:schemeClr val="accent1"/>
                </a:solidFill>
                <a:latin typeface="Garamond"/>
              </a:rPr>
              <a:t>Makaa</a:t>
            </a:r>
            <a:r>
              <a:rPr lang="en-US" sz="1400" dirty="0">
                <a:solidFill>
                  <a:schemeClr val="accent1"/>
                </a:solidFill>
                <a:latin typeface="Garamond"/>
              </a:rPr>
              <a:t>. Cecil discovered that fuel briquettes made from carbonized agricultural refuse were a feasible fuel alternative but they were not easily accessible in the market. Using this information, he decided to start Eco </a:t>
            </a:r>
            <a:r>
              <a:rPr lang="en-US" sz="1400" dirty="0" err="1">
                <a:solidFill>
                  <a:schemeClr val="accent1"/>
                </a:solidFill>
                <a:latin typeface="Garamond"/>
              </a:rPr>
              <a:t>Makaa</a:t>
            </a:r>
            <a:r>
              <a:rPr lang="en-US" sz="1400" dirty="0">
                <a:solidFill>
                  <a:schemeClr val="accent1"/>
                </a:solidFill>
                <a:latin typeface="Garamond"/>
              </a:rPr>
              <a:t>. During the 2019, Nairobi Innovation Week Cecil  received the best student in innovation award. Cecil was also the second runner up at the 2019 </a:t>
            </a:r>
            <a:r>
              <a:rPr lang="en-US" sz="1400" dirty="0" err="1">
                <a:solidFill>
                  <a:schemeClr val="accent1"/>
                </a:solidFill>
                <a:latin typeface="Garamond"/>
              </a:rPr>
              <a:t>Anzisha</a:t>
            </a:r>
            <a:r>
              <a:rPr lang="en-US" sz="1400" dirty="0">
                <a:solidFill>
                  <a:schemeClr val="accent1"/>
                </a:solidFill>
                <a:latin typeface="Garamond"/>
              </a:rPr>
              <a:t> Prize awards and a finalist for the Global Student Entrepreneurship Awards.  </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a:solidFill>
                  <a:schemeClr val="tx1"/>
                </a:solidFill>
                <a:latin typeface="Garamond"/>
              </a:rPr>
              <a:t>Eco </a:t>
            </a:r>
            <a:r>
              <a:rPr lang="en-US" err="1">
                <a:solidFill>
                  <a:schemeClr val="tx1"/>
                </a:solidFill>
                <a:latin typeface="Garamond"/>
              </a:rPr>
              <a:t>Makaa</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a:t> </a:t>
            </a:r>
            <a:r>
              <a:rPr lang="en-US" dirty="0">
                <a:solidFill>
                  <a:schemeClr val="tx1"/>
                </a:solidFill>
                <a:latin typeface="Garamond"/>
              </a:rPr>
              <a:t>Eco </a:t>
            </a:r>
            <a:r>
              <a:rPr lang="en-US" err="1">
                <a:solidFill>
                  <a:schemeClr val="tx1"/>
                </a:solidFill>
                <a:latin typeface="Garamond"/>
              </a:rPr>
              <a:t>Makaa</a:t>
            </a:r>
            <a:r>
              <a:rPr lang="en-US" dirty="0">
                <a:solidFill>
                  <a:schemeClr val="tx1"/>
                </a:solidFill>
                <a:latin typeface="Garamond"/>
              </a:rPr>
              <a:t> is a company that connects local fuel briquette producers to a client base by recruiting the community’s small-scale briquette producers who collectively produce standardized briquette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Nairobi, Kenya</a:t>
            </a:r>
          </a:p>
          <a:p>
            <a:pPr lvl="1"/>
            <a:r>
              <a:rPr lang="en-US" b="1" dirty="0">
                <a:solidFill>
                  <a:schemeClr val="tx1"/>
                </a:solidFill>
                <a:latin typeface="Garamond"/>
              </a:rPr>
              <a:t>JOBS CREATED (Full &amp; Part Time): </a:t>
            </a:r>
            <a:r>
              <a:rPr lang="en-US" dirty="0">
                <a:solidFill>
                  <a:schemeClr val="tx1"/>
                </a:solidFill>
                <a:latin typeface="Garamond"/>
              </a:rPr>
              <a:t>25</a:t>
            </a:r>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Cecil Chikezie</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ecomakaa.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latin typeface="Garamond" panose="02020404030301010803" pitchFamily="18" charset="0"/>
                <a:hlinkClick r:id="rId9"/>
              </a:rPr>
              <a:t>chikezie.cecil@yahoo.com</a:t>
            </a:r>
            <a:endParaRPr lang="en-ZA" sz="1400" dirty="0">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54 701 830 597</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901336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13E4A6B-BE01-488D-879E-4454493333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8413" name="think-cell Slide" r:id="rId5" imgW="421" imgH="423" progId="TCLayout.ActiveDocument.1">
                  <p:embed/>
                </p:oleObj>
              </mc:Choice>
              <mc:Fallback>
                <p:oleObj name="think-cell Slide" r:id="rId5" imgW="421" imgH="423" progId="TCLayout.ActiveDocument.1">
                  <p:embed/>
                  <p:pic>
                    <p:nvPicPr>
                      <p:cNvPr id="3" name="Object 2" hidden="1">
                        <a:extLst>
                          <a:ext uri="{FF2B5EF4-FFF2-40B4-BE49-F238E27FC236}">
                            <a16:creationId xmlns:a16="http://schemas.microsoft.com/office/drawing/2014/main" xmlns="" id="{413E4A6B-BE01-488D-879E-4454493333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70C386-C718-43EA-86C8-BA8313629F8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3" name="Rectangle 12">
            <a:extLst>
              <a:ext uri="{FF2B5EF4-FFF2-40B4-BE49-F238E27FC236}">
                <a16:creationId xmlns:a16="http://schemas.microsoft.com/office/drawing/2014/main" xmlns="" id="{2B7E8DCA-28C9-4919-B676-BCE9753D8B0E}"/>
              </a:ext>
            </a:extLst>
          </p:cNvPr>
          <p:cNvSpPr/>
          <p:nvPr/>
        </p:nvSpPr>
        <p:spPr>
          <a:xfrm>
            <a:off x="1293712" y="1879720"/>
            <a:ext cx="2729250" cy="2371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7" name="Rectangle 6">
            <a:extLst>
              <a:ext uri="{FF2B5EF4-FFF2-40B4-BE49-F238E27FC236}">
                <a16:creationId xmlns:a16="http://schemas.microsoft.com/office/drawing/2014/main" xmlns="" id="{DD988D2F-E3A4-459E-B724-53152A5DAACE}"/>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8" name="Title 4"/>
          <p:cNvSpPr>
            <a:spLocks noGrp="1"/>
          </p:cNvSpPr>
          <p:nvPr>
            <p:ph type="title"/>
          </p:nvPr>
        </p:nvSpPr>
        <p:spPr>
          <a:xfrm>
            <a:off x="1007442" y="481818"/>
            <a:ext cx="10536857" cy="609600"/>
          </a:xfrm>
        </p:spPr>
        <p:txBody>
          <a:bodyPr>
            <a:noAutofit/>
          </a:bodyPr>
          <a:lstStyle/>
          <a:p>
            <a:r>
              <a:rPr lang="en-ZA" sz="2800" b="1" dirty="0">
                <a:solidFill>
                  <a:srgbClr val="862624"/>
                </a:solidFill>
              </a:rPr>
              <a:t>Yaye </a:t>
            </a:r>
            <a:r>
              <a:rPr lang="en-ZA" sz="2800" b="1" dirty="0" err="1">
                <a:solidFill>
                  <a:srgbClr val="862624"/>
                </a:solidFill>
              </a:rPr>
              <a:t>Souadou</a:t>
            </a:r>
            <a:r>
              <a:rPr lang="en-ZA" sz="2800" b="1" dirty="0">
                <a:solidFill>
                  <a:srgbClr val="862624"/>
                </a:solidFill>
              </a:rPr>
              <a:t> Fall – E-Cover: </a:t>
            </a:r>
            <a:r>
              <a:rPr lang="en-ZA" sz="2800" b="1" dirty="0"/>
              <a:t>Artificial grounds manufacturing</a:t>
            </a:r>
            <a:endParaRPr lang="en-US" sz="2800" b="1" dirty="0">
              <a:solidFill>
                <a:srgbClr val="862624"/>
              </a:solidFill>
            </a:endParaRPr>
          </a:p>
        </p:txBody>
      </p:sp>
      <p:pic>
        <p:nvPicPr>
          <p:cNvPr id="9" name="Picture 8"/>
          <p:cNvPicPr preferRelativeResize="0">
            <a:picLocks/>
          </p:cNvPicPr>
          <p:nvPr/>
        </p:nvPicPr>
        <p:blipFill rotWithShape="1">
          <a:blip r:embed="rId7" cstate="print">
            <a:extLst>
              <a:ext uri="{28A0092B-C50C-407E-A947-70E740481C1C}">
                <a14:useLocalDpi xmlns:a14="http://schemas.microsoft.com/office/drawing/2010/main" val="0"/>
              </a:ext>
            </a:extLst>
          </a:blip>
          <a:srcRect l="2524" r="5022" b="42507"/>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10" name="Rectangle 9"/>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a:rPr>
              <a:t>ABOUT YAYE</a:t>
            </a:r>
            <a:endParaRPr lang="en-US" sz="1600" b="1" dirty="0">
              <a:solidFill>
                <a:srgbClr val="862624"/>
              </a:solidFill>
              <a:latin typeface="Garamond" panose="02020404030301010803" pitchFamily="18" charset="0"/>
            </a:endParaRPr>
          </a:p>
          <a:p>
            <a:pPr algn="ctr"/>
            <a:r>
              <a:rPr lang="en-US" sz="1400" dirty="0" err="1">
                <a:solidFill>
                  <a:srgbClr val="862624"/>
                </a:solidFill>
                <a:latin typeface="Garamond"/>
              </a:rPr>
              <a:t>Yaye</a:t>
            </a:r>
            <a:r>
              <a:rPr lang="en-US" sz="1400" dirty="0">
                <a:solidFill>
                  <a:srgbClr val="862624"/>
                </a:solidFill>
                <a:latin typeface="Garamond"/>
              </a:rPr>
              <a:t> is proficient in five different languages and loves doing research. During her explorations, she gained a strong interest in environmentally-friendly technology. Growing up, she could not help but notice how her community was littered with tires and other plastics. Yaya then coupled her knowledge on recycling with the desire to affect positive change and founded E-cover. </a:t>
            </a:r>
          </a:p>
          <a:p>
            <a:pPr algn="ctr"/>
            <a:endParaRPr lang="en-US" sz="1400" dirty="0">
              <a:solidFill>
                <a:srgbClr val="862624"/>
              </a:solidFill>
              <a:latin typeface="Garamond"/>
            </a:endParaRPr>
          </a:p>
        </p:txBody>
      </p:sp>
      <p:sp>
        <p:nvSpPr>
          <p:cNvPr id="11" name="Rectangle 10"/>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E-cover</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E-cover converts tire waste into artificial grass aggregates, sports flooring and playground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Senegal</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6</a:t>
            </a:r>
          </a:p>
        </p:txBody>
      </p:sp>
      <p:sp>
        <p:nvSpPr>
          <p:cNvPr id="12" name="Rectangular Callout 11"/>
          <p:cNvSpPr/>
          <p:nvPr/>
        </p:nvSpPr>
        <p:spPr>
          <a:xfrm>
            <a:off x="1049480"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Yaye </a:t>
            </a:r>
            <a:r>
              <a:rPr lang="en-ZA" sz="1400" dirty="0" err="1">
                <a:solidFill>
                  <a:schemeClr val="tx1"/>
                </a:solidFill>
                <a:latin typeface="Garamond" panose="02020404030301010803" pitchFamily="18" charset="0"/>
              </a:rPr>
              <a:t>Souadou</a:t>
            </a:r>
            <a:r>
              <a:rPr lang="en-ZA" sz="1400" dirty="0">
                <a:solidFill>
                  <a:schemeClr val="tx1"/>
                </a:solidFill>
                <a:latin typeface="Garamond" panose="02020404030301010803" pitchFamily="18" charset="0"/>
              </a:rPr>
              <a:t> Fall</a:t>
            </a: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linkedin.com/in/yaye-souadou-fall-b0ab8110b/</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ction="ppaction://hlinksldjump"/>
              </a:rPr>
              <a:t>mirisoua04@gmail.com </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21 781 790 087</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69631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37730C2D-EF6C-4060-B78E-702DB599F336}"/>
              </a:ext>
            </a:extLst>
          </p:cNvPr>
          <p:cNvGraphicFramePr>
            <a:graphicFrameLocks noChangeAspect="1"/>
          </p:cNvGraphicFramePr>
          <p:nvPr>
            <p:custDataLst>
              <p:tags r:id="rId2"/>
            </p:custDataLst>
            <p:extLst>
              <p:ext uri="{D42A27DB-BD31-4B8C-83A1-F6EECF244321}">
                <p14:modId xmlns:p14="http://schemas.microsoft.com/office/powerpoint/2010/main" val="2264921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48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943F593-C3F9-44E9-86AB-79851616E51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D0E90765-FDCC-4BCF-83DB-C13CAC9642C1}"/>
              </a:ext>
            </a:extLst>
          </p:cNvPr>
          <p:cNvSpPr/>
          <p:nvPr/>
        </p:nvSpPr>
        <p:spPr>
          <a:xfrm>
            <a:off x="105551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a:solidFill>
                  <a:srgbClr val="862624"/>
                </a:solidFill>
              </a:rPr>
              <a:t>Fabrice Alomo – </a:t>
            </a:r>
            <a:r>
              <a:rPr lang="en-ZA" sz="2800" b="1" dirty="0" err="1">
                <a:solidFill>
                  <a:srgbClr val="862624"/>
                </a:solidFill>
              </a:rPr>
              <a:t>Epher</a:t>
            </a:r>
            <a:r>
              <a:rPr lang="en-ZA" sz="2800" b="1" dirty="0">
                <a:solidFill>
                  <a:srgbClr val="862624"/>
                </a:solidFill>
              </a:rPr>
              <a:t> Foundation: Financial platform </a:t>
            </a:r>
            <a:endParaRPr lang="en-US" sz="2800" b="1" dirty="0">
              <a:solidFill>
                <a:srgbClr val="862624"/>
              </a:solidFill>
            </a:endParaRPr>
          </a:p>
        </p:txBody>
      </p:sp>
      <p:pic>
        <p:nvPicPr>
          <p:cNvPr id="2" name="Picture 1"/>
          <p:cNvPicPr preferRelativeResize="0">
            <a:picLocks/>
          </p:cNvPicPr>
          <p:nvPr/>
        </p:nvPicPr>
        <p:blipFill rotWithShape="1">
          <a:blip r:embed="rId8">
            <a:extLst>
              <a:ext uri="{28A0092B-C50C-407E-A947-70E740481C1C}">
                <a14:useLocalDpi xmlns:a14="http://schemas.microsoft.com/office/drawing/2010/main" val="0"/>
              </a:ext>
            </a:extLst>
          </a:blip>
          <a:srcRect t="1102" b="12012"/>
          <a:stretch/>
        </p:blipFill>
        <p:spPr>
          <a:xfrm>
            <a:off x="1293713"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FABRICE</a:t>
            </a:r>
          </a:p>
          <a:p>
            <a:pPr algn="ctr"/>
            <a:r>
              <a:rPr lang="en-US" sz="1400" dirty="0">
                <a:solidFill>
                  <a:srgbClr val="862624"/>
                </a:solidFill>
                <a:latin typeface="Garamond"/>
              </a:rPr>
              <a:t>Fabrice is the founder and CEO of the </a:t>
            </a:r>
            <a:r>
              <a:rPr lang="en-US" sz="1400" dirty="0" err="1">
                <a:solidFill>
                  <a:srgbClr val="862624"/>
                </a:solidFill>
                <a:latin typeface="Garamond"/>
              </a:rPr>
              <a:t>Epher</a:t>
            </a:r>
            <a:r>
              <a:rPr lang="en-US" sz="1400" dirty="0">
                <a:solidFill>
                  <a:srgbClr val="862624"/>
                </a:solidFill>
                <a:latin typeface="Garamond"/>
              </a:rPr>
              <a:t> Foundation and </a:t>
            </a:r>
            <a:r>
              <a:rPr lang="en-US" sz="1400" dirty="0" err="1">
                <a:solidFill>
                  <a:srgbClr val="862624"/>
                </a:solidFill>
                <a:latin typeface="Garamond"/>
              </a:rPr>
              <a:t>HehFit</a:t>
            </a:r>
            <a:r>
              <a:rPr lang="en-US" sz="1400" dirty="0">
                <a:solidFill>
                  <a:srgbClr val="862624"/>
                </a:solidFill>
                <a:latin typeface="Garamond"/>
              </a:rPr>
              <a:t>. He previously founded and was the CEO of </a:t>
            </a:r>
            <a:r>
              <a:rPr lang="en-US" sz="1400" dirty="0" err="1">
                <a:solidFill>
                  <a:srgbClr val="862624"/>
                </a:solidFill>
                <a:latin typeface="Garamond"/>
              </a:rPr>
              <a:t>AMoney</a:t>
            </a:r>
            <a:r>
              <a:rPr lang="en-US" sz="1400" dirty="0">
                <a:solidFill>
                  <a:srgbClr val="862624"/>
                </a:solidFill>
                <a:latin typeface="Garamond"/>
              </a:rPr>
              <a:t>. </a:t>
            </a:r>
            <a:r>
              <a:rPr lang="en-US" sz="1400" dirty="0" err="1">
                <a:solidFill>
                  <a:srgbClr val="862624"/>
                </a:solidFill>
                <a:latin typeface="Garamond"/>
              </a:rPr>
              <a:t>Fabrice</a:t>
            </a:r>
            <a:r>
              <a:rPr lang="en-US" sz="1400" dirty="0">
                <a:solidFill>
                  <a:srgbClr val="862624"/>
                </a:solidFill>
                <a:latin typeface="Garamond"/>
              </a:rPr>
              <a:t> is a fellow of the Tony Elumelu Entrepreneurship Programme, a fellow of the Global Shapers Community of the World Economic Forum, and an Impact Fellow of the Singularity University. He was also named as a “Top 30 under 30 best young entrepreneurs” by Forbes Magazine.</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Epher</a:t>
            </a:r>
            <a:r>
              <a:rPr lang="en-US" dirty="0">
                <a:solidFill>
                  <a:schemeClr val="tx1"/>
                </a:solidFill>
                <a:latin typeface="Garamond" panose="02020404030301010803" pitchFamily="18" charset="0"/>
              </a:rPr>
              <a:t> Foundation </a:t>
            </a:r>
          </a:p>
          <a:p>
            <a:pPr lvl="1"/>
            <a:r>
              <a:rPr lang="en-US" b="1" dirty="0">
                <a:solidFill>
                  <a:schemeClr val="tx1"/>
                </a:solidFill>
                <a:latin typeface="Garamond" panose="02020404030301010803" pitchFamily="18" charset="0"/>
              </a:rPr>
              <a:t>BUSINESS ACTIVITIES:</a:t>
            </a:r>
            <a:r>
              <a:rPr lang="en-US" dirty="0">
                <a:solidFill>
                  <a:schemeClr val="tx1"/>
                </a:solidFill>
                <a:latin typeface="Garamond" panose="02020404030301010803" pitchFamily="18" charset="0"/>
              </a:rPr>
              <a:t> </a:t>
            </a:r>
            <a:r>
              <a:rPr lang="en-US" dirty="0" err="1">
                <a:solidFill>
                  <a:schemeClr val="tx1"/>
                </a:solidFill>
                <a:latin typeface="Garamond" panose="02020404030301010803" pitchFamily="18" charset="0"/>
              </a:rPr>
              <a:t>Epher</a:t>
            </a:r>
            <a:r>
              <a:rPr lang="en-US" dirty="0">
                <a:solidFill>
                  <a:schemeClr val="tx1"/>
                </a:solidFill>
                <a:latin typeface="Garamond" panose="02020404030301010803" pitchFamily="18" charset="0"/>
              </a:rPr>
              <a:t> is a decentralized financial platform at the intersection of payment, saving, remittance, lending, investment and learning that can be used worldwide by anyone in developing and emerging countries who has a mobile phone.</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Cameroon</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38</a:t>
            </a:r>
          </a:p>
        </p:txBody>
      </p:sp>
      <p:sp>
        <p:nvSpPr>
          <p:cNvPr id="4" name="Rectangular Callout 3"/>
          <p:cNvSpPr/>
          <p:nvPr/>
        </p:nvSpPr>
        <p:spPr>
          <a:xfrm>
            <a:off x="105551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Fabrice Alomo</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9"/>
              </a:rPr>
              <a:t>https://epher.services/epherfoundation</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rPr>
              <a:t>fabricealomo@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7 700 37 751</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231425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EC3DB15-417D-4269-90C3-451DF6DB90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1295"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9EC3DB15-417D-4269-90C3-451DF6DB90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8AF9014E-D497-4CAA-B466-747A7BF473F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D3A003C0-BC9E-4048-B07C-7753FD9A12BF}"/>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737382"/>
          </a:xfrm>
        </p:spPr>
        <p:txBody>
          <a:bodyPr anchor="t">
            <a:noAutofit/>
          </a:bodyPr>
          <a:lstStyle/>
          <a:p>
            <a:r>
              <a:rPr lang="en-ZA" sz="2800" b="1" dirty="0" err="1">
                <a:solidFill>
                  <a:srgbClr val="862624"/>
                </a:solidFill>
                <a:latin typeface="Garamond"/>
              </a:rPr>
              <a:t>Chamsiya</a:t>
            </a:r>
            <a:r>
              <a:rPr lang="en-ZA" sz="2800" b="1" dirty="0">
                <a:solidFill>
                  <a:srgbClr val="862624"/>
                </a:solidFill>
                <a:latin typeface="Garamond"/>
              </a:rPr>
              <a:t> </a:t>
            </a:r>
            <a:r>
              <a:rPr lang="en-ZA" sz="2800" b="1" dirty="0" err="1">
                <a:solidFill>
                  <a:srgbClr val="862624"/>
                </a:solidFill>
                <a:latin typeface="Garamond"/>
              </a:rPr>
              <a:t>Lamine</a:t>
            </a:r>
            <a:r>
              <a:rPr lang="en-ZA" sz="2800" b="1" dirty="0">
                <a:solidFill>
                  <a:srgbClr val="862624"/>
                </a:solidFill>
                <a:latin typeface="Garamond"/>
              </a:rPr>
              <a:t> – E3D-NIGER: Agriculture and cosmetics</a:t>
            </a:r>
            <a:endParaRPr lang="en-US" sz="2800" b="1" dirty="0">
              <a:solidFill>
                <a:srgbClr val="862624"/>
              </a:solidFill>
              <a:latin typeface="Garamond"/>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7546" t="6573" r="8132" b="18702"/>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a:rPr>
              <a:t>ABOUT CHAMSIYA</a:t>
            </a:r>
            <a:endParaRPr lang="en-US" sz="1600" b="1" dirty="0">
              <a:solidFill>
                <a:srgbClr val="862624"/>
              </a:solidFill>
              <a:latin typeface="Garamond" panose="02020404030301010803" pitchFamily="18" charset="0"/>
            </a:endParaRPr>
          </a:p>
          <a:p>
            <a:pPr algn="ctr"/>
            <a:r>
              <a:rPr lang="en-US" sz="1400" dirty="0" err="1">
                <a:solidFill>
                  <a:srgbClr val="862624"/>
                </a:solidFill>
                <a:latin typeface="Garamond"/>
              </a:rPr>
              <a:t>Chamsiya</a:t>
            </a:r>
            <a:r>
              <a:rPr lang="en-US" sz="1400" dirty="0">
                <a:solidFill>
                  <a:srgbClr val="862624"/>
                </a:solidFill>
                <a:latin typeface="Garamond"/>
              </a:rPr>
              <a:t> is the co-founder of E3D-Niger.. She  holds a Master’s degree in Telecommunications and Management. She is also a 2016 </a:t>
            </a:r>
            <a:r>
              <a:rPr lang="en-US" sz="1400" dirty="0" err="1">
                <a:solidFill>
                  <a:srgbClr val="862624"/>
                </a:solidFill>
                <a:latin typeface="Garamond"/>
              </a:rPr>
              <a:t>Anzisha</a:t>
            </a:r>
            <a:r>
              <a:rPr lang="en-US" sz="1400" dirty="0">
                <a:solidFill>
                  <a:srgbClr val="862624"/>
                </a:solidFill>
                <a:latin typeface="Garamond"/>
              </a:rPr>
              <a:t> Prize award finalist. </a:t>
            </a:r>
            <a:endParaRPr lang="en-US" sz="1600" dirty="0">
              <a:solidFill>
                <a:srgbClr val="862624"/>
              </a:solidFill>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E3D-NIGER</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E3D-Niger manufacture soaps, insecticides, and natural fertilizers using neem as the main ingredient.</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Niger</a:t>
            </a:r>
          </a:p>
          <a:p>
            <a:pPr lvl="1"/>
            <a:r>
              <a:rPr lang="en-US" b="1" dirty="0">
                <a:solidFill>
                  <a:schemeClr val="tx1"/>
                </a:solidFill>
                <a:latin typeface="Garamond"/>
              </a:rPr>
              <a:t>JOBS CREATED (Full &amp; Part Time): </a:t>
            </a:r>
            <a:r>
              <a:rPr lang="en-US" dirty="0">
                <a:solidFill>
                  <a:schemeClr val="tx1"/>
                </a:solidFill>
                <a:latin typeface="Garamond"/>
              </a:rPr>
              <a:t>12</a:t>
            </a:r>
            <a:endParaRPr lang="en-US" dirty="0">
              <a:solidFill>
                <a:schemeClr val="tx1"/>
              </a:solidFill>
              <a:latin typeface="Garamond" panose="02020404030301010803" pitchFamily="18" charset="0"/>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err="1">
                <a:solidFill>
                  <a:schemeClr val="tx1"/>
                </a:solidFill>
                <a:latin typeface="Garamond"/>
              </a:rPr>
              <a:t>Chamsiya</a:t>
            </a:r>
            <a:r>
              <a:rPr lang="en-ZA" sz="1400" dirty="0">
                <a:solidFill>
                  <a:schemeClr val="tx1"/>
                </a:solidFill>
                <a:latin typeface="Garamond"/>
              </a:rPr>
              <a:t> </a:t>
            </a:r>
            <a:r>
              <a:rPr lang="en-ZA" sz="1400" dirty="0" err="1">
                <a:solidFill>
                  <a:schemeClr val="tx1"/>
                </a:solidFill>
                <a:latin typeface="Garamond"/>
              </a:rPr>
              <a:t>Lamine</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e3dniger.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info@e3dniger.com</a:t>
            </a:r>
            <a:r>
              <a:rPr lang="en-ZA" sz="1400" dirty="0">
                <a:solidFill>
                  <a:schemeClr val="tx1"/>
                </a:solidFill>
                <a:latin typeface="Garamond" panose="02020404030301010803" pitchFamily="18" charset="0"/>
              </a:rPr>
              <a:t> </a:t>
            </a:r>
          </a:p>
          <a:p>
            <a:r>
              <a:rPr lang="en-ZA" sz="1400" b="1" dirty="0">
                <a:solidFill>
                  <a:schemeClr val="tx1"/>
                </a:solidFill>
                <a:latin typeface="Garamond"/>
              </a:rPr>
              <a:t>WhatsApp: </a:t>
            </a:r>
            <a:r>
              <a:rPr lang="en-ZA" sz="1400" dirty="0">
                <a:solidFill>
                  <a:schemeClr val="tx1"/>
                </a:solidFill>
                <a:latin typeface="Garamond"/>
              </a:rPr>
              <a:t>+227 963 898 9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018171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BC79DD0-7CFC-4E4B-84B4-E04BCAD2DC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4218"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9BC79DD0-7CFC-4E4B-84B4-E04BCAD2DC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B34B1AED-FA07-42B5-92AB-C8C6370BE1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880AE66F-4253-496E-8908-00F39FF2522D}"/>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err="1">
                <a:solidFill>
                  <a:srgbClr val="862624"/>
                </a:solidFill>
              </a:rPr>
              <a:t>Awah</a:t>
            </a:r>
            <a:r>
              <a:rPr lang="en-ZA" sz="2800" b="1" dirty="0">
                <a:solidFill>
                  <a:srgbClr val="862624"/>
                </a:solidFill>
              </a:rPr>
              <a:t> </a:t>
            </a:r>
            <a:r>
              <a:rPr lang="en-ZA" sz="2800" b="1" dirty="0" err="1">
                <a:solidFill>
                  <a:srgbClr val="862624"/>
                </a:solidFill>
              </a:rPr>
              <a:t>Ntseh</a:t>
            </a:r>
            <a:r>
              <a:rPr lang="en-ZA" sz="2800" b="1" dirty="0">
                <a:solidFill>
                  <a:srgbClr val="862624"/>
                </a:solidFill>
              </a:rPr>
              <a:t> – Farmer’s Forte: Skincare manufacturer</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500" t="3525" r="1500" b="11717"/>
          <a:stretch/>
        </p:blipFill>
        <p:spPr>
          <a:xfrm>
            <a:off x="1293712" y="1879720"/>
            <a:ext cx="2729251"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2"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AWAH</a:t>
            </a:r>
          </a:p>
          <a:p>
            <a:pPr algn="ctr"/>
            <a:r>
              <a:rPr lang="en-ZA" sz="1400" dirty="0" err="1">
                <a:solidFill>
                  <a:srgbClr val="862624"/>
                </a:solidFill>
                <a:latin typeface="Garamond"/>
              </a:rPr>
              <a:t>Awah’s</a:t>
            </a:r>
            <a:r>
              <a:rPr lang="en-ZA" sz="1400" dirty="0">
                <a:solidFill>
                  <a:srgbClr val="862624"/>
                </a:solidFill>
                <a:latin typeface="Garamond"/>
              </a:rPr>
              <a:t> core passion is to use the gifts that nature gives to solve the challenges that he sees around him. He hopes to raise awareness about the benefits of products derived from natural sources and intends to grow his business beyond the borders of Cameroon.</a:t>
            </a:r>
            <a:endParaRPr lang="en-US" sz="14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Farmer’s Forte</a:t>
            </a:r>
          </a:p>
          <a:p>
            <a:pPr lvl="1"/>
            <a:r>
              <a:rPr lang="en-US" b="1" dirty="0">
                <a:solidFill>
                  <a:schemeClr val="tx1"/>
                </a:solidFill>
                <a:latin typeface="Garamond"/>
              </a:rPr>
              <a:t>BUSINESS ACTIVITIES: </a:t>
            </a:r>
            <a:r>
              <a:rPr lang="en-US" dirty="0">
                <a:solidFill>
                  <a:schemeClr val="tx1"/>
                </a:solidFill>
                <a:latin typeface="Garamond"/>
              </a:rPr>
              <a:t>Farmer’s Forte is a </a:t>
            </a:r>
            <a:r>
              <a:rPr lang="en-US" dirty="0" err="1">
                <a:solidFill>
                  <a:schemeClr val="tx1"/>
                </a:solidFill>
                <a:latin typeface="Garamond"/>
              </a:rPr>
              <a:t>heliculture</a:t>
            </a:r>
            <a:r>
              <a:rPr lang="en-US" dirty="0">
                <a:solidFill>
                  <a:schemeClr val="tx1"/>
                </a:solidFill>
                <a:latin typeface="Garamond"/>
              </a:rPr>
              <a:t> and apiculture business that uses</a:t>
            </a:r>
            <a:r>
              <a:rPr lang="en-ZA" dirty="0">
                <a:solidFill>
                  <a:schemeClr val="tx1"/>
                </a:solidFill>
                <a:latin typeface="Garamond"/>
              </a:rPr>
              <a:t> honey and snail mucin to make serum alongside a range of other beauty products, including coconut oil, neem and aloe </a:t>
            </a:r>
            <a:r>
              <a:rPr lang="en-ZA" dirty="0" err="1">
                <a:solidFill>
                  <a:schemeClr val="tx1"/>
                </a:solidFill>
                <a:latin typeface="Garamond"/>
              </a:rPr>
              <a:t>vera</a:t>
            </a:r>
            <a:r>
              <a:rPr lang="en-ZA" dirty="0">
                <a:solidFill>
                  <a:schemeClr val="tx1"/>
                </a:solidFill>
                <a:latin typeface="Garamond"/>
              </a:rPr>
              <a:t>.</a:t>
            </a:r>
            <a:endParaRPr lang="en-US" dirty="0">
              <a:solidFill>
                <a:schemeClr val="tx1"/>
              </a:solidFill>
              <a:latin typeface="Garamond"/>
            </a:endParaRP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Cameroon</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3</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Awah</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Ntseh</a:t>
            </a:r>
            <a:endParaRPr lang="en-ZA" sz="1400" dirty="0">
              <a:solidFill>
                <a:schemeClr val="tx1"/>
              </a:solidFill>
              <a:latin typeface="Garamond" panose="02020404030301010803" pitchFamily="18" charset="0"/>
            </a:endParaRPr>
          </a:p>
          <a:p>
            <a:r>
              <a:rPr lang="en-ZA" sz="1400" b="1" dirty="0">
                <a:solidFill>
                  <a:schemeClr val="tx1"/>
                </a:solidFill>
                <a:latin typeface="Garamond"/>
              </a:rPr>
              <a:t>Website: </a:t>
            </a:r>
            <a:r>
              <a:rPr lang="en-ZA" sz="1400" dirty="0">
                <a:solidFill>
                  <a:schemeClr val="tx1"/>
                </a:solidFill>
                <a:latin typeface="Garamond"/>
                <a:hlinkClick r:id="rId8"/>
              </a:rPr>
              <a:t>https://www.facebook.com/farmersforte237</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ction="ppaction://hlinksldjump"/>
              </a:rPr>
              <a:t>awah.ntseh@yahoo.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37 671 318 350</a:t>
            </a:r>
            <a:endParaRPr lang="en-GB" sz="1400" dirty="0">
              <a:solidFill>
                <a:schemeClr val="tx1"/>
              </a:solidFill>
              <a:latin typeface="Garamond"/>
            </a:endParaRPr>
          </a:p>
        </p:txBody>
      </p:sp>
    </p:spTree>
    <p:extLst>
      <p:ext uri="{BB962C8B-B14F-4D97-AF65-F5344CB8AC3E}">
        <p14:creationId xmlns:p14="http://schemas.microsoft.com/office/powerpoint/2010/main" val="33419977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6D83FB63-55AD-4426-A77B-C9D26D23EF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2291"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6D83FB63-55AD-4426-A77B-C9D26D23EF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59EFEC1A-B703-47DD-A1A5-94345F7F8B1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5485B59D-9127-43B0-8ACD-80130CD1E9FF}"/>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800" b="1" dirty="0">
                <a:solidFill>
                  <a:srgbClr val="862624"/>
                </a:solidFill>
                <a:latin typeface="Garamond"/>
              </a:rPr>
              <a:t>Kevin </a:t>
            </a:r>
            <a:r>
              <a:rPr lang="en-ZA" sz="2800" b="1" dirty="0" err="1">
                <a:solidFill>
                  <a:srgbClr val="862624"/>
                </a:solidFill>
                <a:latin typeface="Garamond"/>
              </a:rPr>
              <a:t>Kibet</a:t>
            </a:r>
            <a:r>
              <a:rPr lang="en-ZA" sz="2800" b="1" dirty="0">
                <a:solidFill>
                  <a:srgbClr val="862624"/>
                </a:solidFill>
                <a:latin typeface="Garamond"/>
              </a:rPr>
              <a:t> – </a:t>
            </a:r>
            <a:r>
              <a:rPr lang="en-ZA" sz="2800" b="1" dirty="0" err="1">
                <a:solidFill>
                  <a:srgbClr val="862624"/>
                </a:solidFill>
                <a:latin typeface="Garamond"/>
              </a:rPr>
              <a:t>FarmMoja</a:t>
            </a:r>
            <a:r>
              <a:rPr lang="en-ZA" sz="2800" b="1" dirty="0">
                <a:solidFill>
                  <a:srgbClr val="862624"/>
                </a:solidFill>
                <a:latin typeface="Garamond"/>
              </a:rPr>
              <a:t>: Avocado farming</a:t>
            </a:r>
            <a:endParaRPr lang="en-US" sz="2800" b="1" dirty="0">
              <a:solidFill>
                <a:srgbClr val="862624"/>
              </a:solidFill>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3783" t="3468" r="3783" b="8053"/>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707957"/>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KEVIN</a:t>
            </a:r>
          </a:p>
          <a:p>
            <a:pPr algn="ctr"/>
            <a:r>
              <a:rPr lang="en-US" sz="1400" dirty="0">
                <a:solidFill>
                  <a:schemeClr val="accent1"/>
                </a:solidFill>
                <a:latin typeface="Garamond" panose="02020404030301010803" pitchFamily="18" charset="0"/>
              </a:rPr>
              <a:t>Kevin is a Bachelor of Commerce graduate. Kevin hopes </a:t>
            </a:r>
            <a:r>
              <a:rPr lang="en-US" sz="1400" dirty="0" err="1">
                <a:solidFill>
                  <a:schemeClr val="accent1"/>
                </a:solidFill>
                <a:latin typeface="Garamond" panose="02020404030301010803" pitchFamily="18" charset="0"/>
              </a:rPr>
              <a:t>FarmMoja</a:t>
            </a:r>
            <a:r>
              <a:rPr lang="en-US" sz="1400" dirty="0">
                <a:solidFill>
                  <a:schemeClr val="accent1"/>
                </a:solidFill>
                <a:latin typeface="Garamond" panose="02020404030301010803" pitchFamily="18" charset="0"/>
              </a:rPr>
              <a:t> can become the largest smallholder driven agricultural development company on the continent. His vision is to have a network of a million farmers by 2030.</a:t>
            </a:r>
            <a:r>
              <a:rPr lang="en-US" sz="1400" dirty="0">
                <a:latin typeface="Garamond" panose="02020404030301010803" pitchFamily="18" charset="0"/>
              </a:rPr>
              <a:t>.</a:t>
            </a:r>
            <a:endParaRPr lang="en-US" sz="14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err="1">
                <a:solidFill>
                  <a:schemeClr val="tx1"/>
                </a:solidFill>
                <a:latin typeface="Garamond"/>
              </a:rPr>
              <a:t>FarmMoja</a:t>
            </a:r>
            <a:endParaRPr lang="en-US" b="1">
              <a:solidFill>
                <a:schemeClr val="tx1"/>
              </a:solidFill>
              <a:latin typeface="Garamond"/>
            </a:endParaRPr>
          </a:p>
          <a:p>
            <a:pPr lvl="1"/>
            <a:r>
              <a:rPr lang="en-US" b="1" dirty="0">
                <a:solidFill>
                  <a:schemeClr val="tx1"/>
                </a:solidFill>
                <a:latin typeface="Garamond"/>
              </a:rPr>
              <a:t>BUSINESS ACTIVITIES: </a:t>
            </a:r>
            <a:r>
              <a:rPr lang="en-US" dirty="0" err="1">
                <a:solidFill>
                  <a:schemeClr val="tx1"/>
                </a:solidFill>
                <a:latin typeface="Garamond"/>
              </a:rPr>
              <a:t>FarmMoja</a:t>
            </a:r>
            <a:r>
              <a:rPr lang="en-US" dirty="0">
                <a:solidFill>
                  <a:schemeClr val="tx1"/>
                </a:solidFill>
                <a:latin typeface="Garamond"/>
              </a:rPr>
              <a:t> Limited focuses on avocado production and works with smallholder farmers— giving them inputs, training, and access to reliable markets. </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Kenya</a:t>
            </a:r>
          </a:p>
          <a:p>
            <a:pPr lvl="1"/>
            <a:r>
              <a:rPr lang="en-US" b="1" dirty="0">
                <a:solidFill>
                  <a:schemeClr val="tx1"/>
                </a:solidFill>
                <a:latin typeface="Garamond"/>
              </a:rPr>
              <a:t>JOBS CREATED (Full &amp; Part Time): </a:t>
            </a:r>
            <a:r>
              <a:rPr lang="en-US" dirty="0">
                <a:solidFill>
                  <a:schemeClr val="tx1"/>
                </a:solidFill>
                <a:latin typeface="Garamond"/>
              </a:rPr>
              <a:t>6</a:t>
            </a:r>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Kevin </a:t>
            </a:r>
            <a:r>
              <a:rPr lang="en-ZA" sz="1400" dirty="0" err="1">
                <a:solidFill>
                  <a:schemeClr val="tx1"/>
                </a:solidFill>
                <a:latin typeface="Garamond"/>
              </a:rPr>
              <a:t>Kibet</a:t>
            </a:r>
            <a:endParaRPr lang="en-ZA" sz="1400" dirty="0">
              <a:solidFill>
                <a:schemeClr val="tx1"/>
              </a:solidFill>
              <a:latin typeface="Garamond"/>
            </a:endParaRPr>
          </a:p>
          <a:p>
            <a:r>
              <a:rPr lang="en-US" sz="1400" b="1" dirty="0">
                <a:solidFill>
                  <a:schemeClr val="tx1"/>
                </a:solidFill>
                <a:latin typeface="Garamond" panose="02020404030301010803" pitchFamily="18" charset="0"/>
              </a:rPr>
              <a:t>Website:</a:t>
            </a:r>
          </a:p>
          <a:p>
            <a:r>
              <a:rPr lang="en-ZA" sz="1400" dirty="0">
                <a:solidFill>
                  <a:schemeClr val="tx1"/>
                </a:solidFill>
                <a:latin typeface="Garamond" panose="02020404030301010803" pitchFamily="18" charset="0"/>
                <a:hlinkClick r:id="rId8"/>
              </a:rPr>
              <a:t>https://www.linkedin.com/in/kevin-kibet-mochama-29b8ba145/</a:t>
            </a:r>
            <a:r>
              <a:rPr lang="en-ZA" sz="1400" dirty="0">
                <a:solidFill>
                  <a:schemeClr val="tx1"/>
                </a:solidFill>
                <a:latin typeface="Garamond" panose="02020404030301010803" pitchFamily="18" charset="0"/>
              </a:rPr>
              <a:t> </a:t>
            </a:r>
            <a:endParaRPr lang="en-ZA" sz="1400" b="1"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kkm@farmmoja.org</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54 799 099 988</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619251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DDC68DB-C5DD-4507-8C26-84041F6F4B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9432"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9DDC68DB-C5DD-4507-8C26-84041F6F4B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2B9D6DB0-05F2-40D9-AEB6-A0BB42A5BA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BA686ACD-5B09-47B9-954D-8FF7DBA62715}"/>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916334" cy="609600"/>
          </a:xfrm>
        </p:spPr>
        <p:txBody>
          <a:bodyPr anchor="t">
            <a:noAutofit/>
          </a:bodyPr>
          <a:lstStyle/>
          <a:p>
            <a:r>
              <a:rPr lang="en-ZA" sz="2800" b="1" dirty="0" err="1">
                <a:solidFill>
                  <a:srgbClr val="862624"/>
                </a:solidFill>
                <a:latin typeface="Garamond"/>
              </a:rPr>
              <a:t>Heritiana</a:t>
            </a:r>
            <a:r>
              <a:rPr lang="en-ZA" sz="2800" b="1" dirty="0">
                <a:solidFill>
                  <a:srgbClr val="862624"/>
                </a:solidFill>
                <a:latin typeface="Garamond"/>
              </a:rPr>
              <a:t> </a:t>
            </a:r>
            <a:r>
              <a:rPr lang="en-ZA" sz="2800" b="1" dirty="0" err="1">
                <a:solidFill>
                  <a:srgbClr val="862624"/>
                </a:solidFill>
                <a:latin typeface="Garamond"/>
              </a:rPr>
              <a:t>Randriamananatahina</a:t>
            </a:r>
            <a:r>
              <a:rPr lang="en-ZA" sz="2800" b="1" dirty="0">
                <a:solidFill>
                  <a:srgbClr val="862624"/>
                </a:solidFill>
                <a:latin typeface="Garamond"/>
              </a:rPr>
              <a:t>– </a:t>
            </a:r>
            <a:r>
              <a:rPr lang="en-ZA" sz="2800" b="1" dirty="0" err="1">
                <a:solidFill>
                  <a:srgbClr val="862624"/>
                </a:solidFill>
                <a:latin typeface="Garamond"/>
              </a:rPr>
              <a:t>Fiombonana</a:t>
            </a:r>
            <a:r>
              <a:rPr lang="en-ZA" sz="2800" b="1" dirty="0">
                <a:latin typeface="Garamond"/>
              </a:rPr>
              <a:t>: </a:t>
            </a:r>
            <a:r>
              <a:rPr lang="en-ZA" sz="2800" b="1" dirty="0" err="1">
                <a:latin typeface="Garamond"/>
              </a:rPr>
              <a:t>Agro</a:t>
            </a:r>
            <a:r>
              <a:rPr lang="en-ZA" sz="2800" b="1" dirty="0">
                <a:latin typeface="Garamond"/>
              </a:rPr>
              <a:t>-processing</a:t>
            </a:r>
            <a:r>
              <a:rPr lang="en-ZA" sz="2800" b="1" dirty="0">
                <a:solidFill>
                  <a:srgbClr val="862624"/>
                </a:solidFill>
                <a:latin typeface="Garamond"/>
              </a:rPr>
              <a:t> </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4903" t="4595" r="4903" b="43161"/>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HERITIANA</a:t>
            </a:r>
          </a:p>
          <a:p>
            <a:pPr algn="ctr"/>
            <a:r>
              <a:rPr lang="en-US" sz="1400" dirty="0">
                <a:solidFill>
                  <a:srgbClr val="862624"/>
                </a:solidFill>
                <a:latin typeface="Garamond"/>
              </a:rPr>
              <a:t>At 16, </a:t>
            </a:r>
            <a:r>
              <a:rPr lang="en-US" sz="1400" dirty="0" err="1">
                <a:solidFill>
                  <a:srgbClr val="862624"/>
                </a:solidFill>
                <a:latin typeface="Garamond"/>
              </a:rPr>
              <a:t>Heritiana</a:t>
            </a:r>
            <a:r>
              <a:rPr lang="en-US" sz="1400" dirty="0">
                <a:solidFill>
                  <a:srgbClr val="862624"/>
                </a:solidFill>
                <a:latin typeface="Garamond"/>
              </a:rPr>
              <a:t> dropped out of the sixth grade to work as a water can distributor and then later as a caca-pigeon sales person for his uncle for a year (without pay). Rather than letting his circumstances hinder him, he saw this inconvenience as an opportunity to start his own business, </a:t>
            </a:r>
            <a:r>
              <a:rPr lang="en-US" sz="1400" dirty="0" err="1">
                <a:solidFill>
                  <a:srgbClr val="862624"/>
                </a:solidFill>
                <a:latin typeface="Garamond"/>
              </a:rPr>
              <a:t>Fiombonana</a:t>
            </a:r>
            <a:r>
              <a:rPr lang="en-US" sz="1400" dirty="0">
                <a:solidFill>
                  <a:srgbClr val="862624"/>
                </a:solidFill>
                <a:latin typeface="Garamond"/>
              </a:rPr>
              <a:t>.</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Fiombonana MG, FY'DELIKÔ</a:t>
            </a:r>
          </a:p>
          <a:p>
            <a:pPr lvl="1"/>
            <a:r>
              <a:rPr lang="en-US" b="1" dirty="0">
                <a:solidFill>
                  <a:schemeClr val="tx1"/>
                </a:solidFill>
                <a:latin typeface="Garamond" panose="02020404030301010803" pitchFamily="18" charset="0"/>
              </a:rPr>
              <a:t>BUSINESS ACTIVITIES: </a:t>
            </a:r>
            <a:r>
              <a:rPr lang="en-ZA" dirty="0">
                <a:solidFill>
                  <a:schemeClr val="tx1"/>
                </a:solidFill>
                <a:latin typeface="Garamond" panose="02020404030301010803" pitchFamily="18" charset="0"/>
              </a:rPr>
              <a:t>Fiombonana MG </a:t>
            </a:r>
            <a:r>
              <a:rPr lang="en-US" dirty="0">
                <a:solidFill>
                  <a:schemeClr val="tx1"/>
                </a:solidFill>
                <a:latin typeface="Garamond" panose="02020404030301010803" pitchFamily="18" charset="0"/>
              </a:rPr>
              <a:t>produces, processes, and supplies cheese, chocolate, fruit juice and other dairy product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Madagascar</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41</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err="1">
                <a:solidFill>
                  <a:schemeClr val="tx1"/>
                </a:solidFill>
                <a:latin typeface="Garamond"/>
              </a:rPr>
              <a:t>Heritiana</a:t>
            </a:r>
            <a:r>
              <a:rPr lang="en-ZA" sz="1400" dirty="0">
                <a:solidFill>
                  <a:schemeClr val="tx1"/>
                </a:solidFill>
                <a:latin typeface="Garamond"/>
              </a:rPr>
              <a:t> </a:t>
            </a:r>
            <a:r>
              <a:rPr lang="en-ZA" sz="1400" dirty="0" err="1">
                <a:solidFill>
                  <a:schemeClr val="tx1"/>
                </a:solidFill>
                <a:latin typeface="Garamond"/>
              </a:rPr>
              <a:t>Randriamananatahina</a:t>
            </a:r>
            <a:endParaRPr lang="en-ZA" sz="1400" dirty="0">
              <a:solidFill>
                <a:schemeClr val="tx1"/>
              </a:solidFill>
              <a:latin typeface="Garamond"/>
            </a:endParaRPr>
          </a:p>
          <a:p>
            <a:r>
              <a:rPr lang="en-US" sz="1400" b="1" dirty="0">
                <a:solidFill>
                  <a:schemeClr val="tx1"/>
                </a:solidFill>
                <a:latin typeface="Garamond"/>
              </a:rPr>
              <a:t>Website: </a:t>
            </a:r>
            <a:r>
              <a:rPr lang="en-US" sz="1400" dirty="0">
                <a:solidFill>
                  <a:schemeClr val="tx1"/>
                </a:solidFill>
                <a:latin typeface="Garamond"/>
                <a:hlinkClick r:id="rId8"/>
              </a:rPr>
              <a:t>https://www.linkedin.com/in/heritiaina-fabien-randriamananatahina-26544416b/</a:t>
            </a:r>
            <a:r>
              <a:rPr lang="en-US"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a:rPr>
              <a:t>Email: </a:t>
            </a:r>
            <a:r>
              <a:rPr lang="en-ZA" sz="1400" dirty="0">
                <a:solidFill>
                  <a:schemeClr val="tx1"/>
                </a:solidFill>
                <a:latin typeface="Garamond"/>
                <a:hlinkClick r:id="rId9"/>
              </a:rPr>
              <a:t>randriamananatahina.fabien@gmail.com</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61348982174 </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819376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D9FB50CF-1CA6-435E-904A-E1DA60AFED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5242"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D9FB50CF-1CA6-435E-904A-E1DA60AFED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A33971A-08D4-49B5-BA68-60CB8501E5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31852711-08E8-4DA8-AA76-A8498EAC57CD}"/>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Domitila </a:t>
            </a:r>
            <a:r>
              <a:rPr lang="en-ZA" sz="2800" b="1" dirty="0" err="1">
                <a:solidFill>
                  <a:srgbClr val="862624"/>
                </a:solidFill>
              </a:rPr>
              <a:t>Silayo</a:t>
            </a:r>
            <a:r>
              <a:rPr lang="en-ZA" sz="2800" b="1" dirty="0">
                <a:solidFill>
                  <a:srgbClr val="862624"/>
                </a:solidFill>
              </a:rPr>
              <a:t> – </a:t>
            </a:r>
            <a:r>
              <a:rPr lang="en-ZA" sz="2800" b="1" dirty="0" err="1">
                <a:solidFill>
                  <a:srgbClr val="862624"/>
                </a:solidFill>
              </a:rPr>
              <a:t>FixChap</a:t>
            </a:r>
            <a:r>
              <a:rPr lang="en-ZA" sz="2800" b="1" dirty="0">
                <a:solidFill>
                  <a:srgbClr val="862624"/>
                </a:solidFill>
              </a:rPr>
              <a:t>: Home and office repair services</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t="2339" b="15491"/>
          <a:stretch/>
        </p:blipFill>
        <p:spPr>
          <a:xfrm>
            <a:off x="1293711" y="1879720"/>
            <a:ext cx="2729249"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DOMITILA</a:t>
            </a:r>
          </a:p>
          <a:p>
            <a:pPr algn="ctr"/>
            <a:r>
              <a:rPr lang="en-ZA" sz="1400" dirty="0">
                <a:solidFill>
                  <a:srgbClr val="862624"/>
                </a:solidFill>
                <a:latin typeface="Garamond"/>
              </a:rPr>
              <a:t>Domitila has over five years of experience in business and entrepreneurship with a focus on manufacturing, product development, and marketing. She has an MBA from </a:t>
            </a:r>
            <a:r>
              <a:rPr lang="en-ZA" sz="1400" dirty="0" err="1">
                <a:solidFill>
                  <a:srgbClr val="862624"/>
                </a:solidFill>
                <a:latin typeface="Garamond"/>
              </a:rPr>
              <a:t>Mzumbe</a:t>
            </a:r>
            <a:r>
              <a:rPr lang="en-ZA" sz="1400" dirty="0">
                <a:solidFill>
                  <a:srgbClr val="862624"/>
                </a:solidFill>
                <a:latin typeface="Garamond"/>
              </a:rPr>
              <a:t> University where she specialized in product operations and corporate management. </a:t>
            </a:r>
            <a:endParaRPr lang="en-US" sz="14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FixChap</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err="1">
                <a:solidFill>
                  <a:schemeClr val="tx1"/>
                </a:solidFill>
                <a:latin typeface="Garamond"/>
              </a:rPr>
              <a:t>FixChap</a:t>
            </a:r>
            <a:r>
              <a:rPr lang="en-US" dirty="0">
                <a:solidFill>
                  <a:schemeClr val="tx1"/>
                </a:solidFill>
                <a:latin typeface="Garamond"/>
              </a:rPr>
              <a:t> is a w</a:t>
            </a:r>
            <a:r>
              <a:rPr lang="en-US" sz="1600" dirty="0">
                <a:solidFill>
                  <a:schemeClr val="tx1"/>
                </a:solidFill>
                <a:latin typeface="Garamond"/>
              </a:rPr>
              <a:t>eb and mobile App connecting home and office owners with vetted handymen.</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Tanzani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6</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600" b="1" dirty="0">
                <a:solidFill>
                  <a:schemeClr val="tx1"/>
                </a:solidFill>
                <a:latin typeface="Garamond" panose="02020404030301010803" pitchFamily="18" charset="0"/>
              </a:rPr>
              <a:t>Contact</a:t>
            </a:r>
            <a:r>
              <a:rPr lang="en-ZA" sz="1400" b="1" dirty="0">
                <a:solidFill>
                  <a:schemeClr val="tx1"/>
                </a:solidFill>
                <a:latin typeface="Garamond" panose="02020404030301010803" pitchFamily="18" charset="0"/>
              </a:rPr>
              <a:t>: </a:t>
            </a:r>
            <a:r>
              <a:rPr lang="en-ZA" sz="1400" dirty="0">
                <a:solidFill>
                  <a:schemeClr val="tx1"/>
                </a:solidFill>
                <a:latin typeface="Garamond" panose="02020404030301010803" pitchFamily="18" charset="0"/>
              </a:rPr>
              <a:t>Domitila </a:t>
            </a:r>
            <a:r>
              <a:rPr lang="en-ZA" sz="1400" dirty="0" err="1">
                <a:solidFill>
                  <a:schemeClr val="tx1"/>
                </a:solidFill>
                <a:latin typeface="Garamond" panose="02020404030301010803" pitchFamily="18" charset="0"/>
              </a:rPr>
              <a:t>Silayo</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fixchap.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info@fixchap.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5 787 573 397</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504747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F8C101F2-6DD6-48B3-8E09-9755CF5E01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2172" name="think-cell Slide" r:id="rId5" imgW="421" imgH="423" progId="TCLayout.ActiveDocument.1">
                  <p:embed/>
                </p:oleObj>
              </mc:Choice>
              <mc:Fallback>
                <p:oleObj name="think-cell Slide" r:id="rId5" imgW="421" imgH="423" progId="TCLayout.ActiveDocument.1">
                  <p:embed/>
                  <p:pic>
                    <p:nvPicPr>
                      <p:cNvPr id="11" name="Object 10" hidden="1">
                        <a:extLst>
                          <a:ext uri="{FF2B5EF4-FFF2-40B4-BE49-F238E27FC236}">
                            <a16:creationId xmlns:a16="http://schemas.microsoft.com/office/drawing/2014/main" xmlns="" id="{F8C101F2-6DD6-48B3-8E09-9755CF5E01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D6538D6B-673C-4DAC-B0E6-1D1112D92E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5179335E-2B3B-49CD-BE56-06704E612343}"/>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500" b="1" dirty="0">
                <a:solidFill>
                  <a:srgbClr val="862624"/>
                </a:solidFill>
              </a:rPr>
              <a:t>Rebecca </a:t>
            </a:r>
            <a:r>
              <a:rPr lang="en-ZA" sz="2500" b="1" dirty="0" err="1">
                <a:solidFill>
                  <a:srgbClr val="862624"/>
                </a:solidFill>
              </a:rPr>
              <a:t>Andrianarisandy</a:t>
            </a:r>
            <a:r>
              <a:rPr lang="en-ZA" sz="2500" b="1" dirty="0">
                <a:solidFill>
                  <a:srgbClr val="862624"/>
                </a:solidFill>
              </a:rPr>
              <a:t> – </a:t>
            </a:r>
            <a:r>
              <a:rPr lang="en-ZA" sz="2500" b="1" dirty="0" err="1">
                <a:solidFill>
                  <a:srgbClr val="862624"/>
                </a:solidFill>
              </a:rPr>
              <a:t>GasGasy</a:t>
            </a:r>
            <a:r>
              <a:rPr lang="en-ZA" sz="2500" b="1" dirty="0">
                <a:solidFill>
                  <a:srgbClr val="862624"/>
                </a:solidFill>
              </a:rPr>
              <a:t>: Bio-compost and bio-gas </a:t>
            </a:r>
            <a:endParaRPr lang="en-US" sz="25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t="6184" b="7826"/>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REBECCA</a:t>
            </a:r>
            <a:endParaRPr lang="en-US" sz="1400" b="1" dirty="0">
              <a:solidFill>
                <a:srgbClr val="862624"/>
              </a:solidFill>
              <a:latin typeface="Garamond" panose="02020404030301010803" pitchFamily="18" charset="0"/>
            </a:endParaRPr>
          </a:p>
          <a:p>
            <a:pPr algn="ctr"/>
            <a:r>
              <a:rPr lang="en-ZA" sz="1400" dirty="0">
                <a:solidFill>
                  <a:srgbClr val="862624"/>
                </a:solidFill>
                <a:latin typeface="Garamond" panose="02020404030301010803" pitchFamily="18" charset="0"/>
              </a:rPr>
              <a:t>Rebecca and her all-female team decided to create </a:t>
            </a:r>
            <a:r>
              <a:rPr lang="en-ZA" sz="1400" dirty="0" err="1">
                <a:solidFill>
                  <a:srgbClr val="862624"/>
                </a:solidFill>
                <a:latin typeface="Garamond" panose="02020404030301010803" pitchFamily="18" charset="0"/>
              </a:rPr>
              <a:t>GasGasy</a:t>
            </a:r>
            <a:r>
              <a:rPr lang="en-ZA" sz="1400" dirty="0">
                <a:solidFill>
                  <a:srgbClr val="862624"/>
                </a:solidFill>
                <a:latin typeface="Garamond" panose="02020404030301010803" pitchFamily="18" charset="0"/>
              </a:rPr>
              <a:t> to provide a practical solution to the environmental problems we all face today. This together with the excessive exploitation of the forest for charcoal production but also  with the ongoing concerns of climate change lead to the creation of </a:t>
            </a:r>
            <a:r>
              <a:rPr lang="en-ZA" sz="1400" dirty="0" err="1">
                <a:solidFill>
                  <a:srgbClr val="862624"/>
                </a:solidFill>
                <a:latin typeface="Garamond" panose="02020404030301010803" pitchFamily="18" charset="0"/>
              </a:rPr>
              <a:t>GasGasy</a:t>
            </a:r>
            <a:r>
              <a:rPr lang="en-ZA" sz="1400" dirty="0">
                <a:solidFill>
                  <a:srgbClr val="862624"/>
                </a:solidFill>
                <a:latin typeface="Garamond" panose="02020404030301010803" pitchFamily="18" charset="0"/>
              </a:rPr>
              <a:t>.</a:t>
            </a:r>
            <a:endParaRPr lang="en-US" sz="14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GasGasy</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GasGasy</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provides alternative, affordable, sustainable and environmentally friendly energy for people to cook with, in the form of bio-compost and bio-ga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Madagascar</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6</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Rebecca </a:t>
            </a:r>
            <a:r>
              <a:rPr lang="en-ZA" sz="1400" dirty="0" err="1">
                <a:solidFill>
                  <a:schemeClr val="tx1"/>
                </a:solidFill>
                <a:latin typeface="Garamond"/>
              </a:rPr>
              <a:t>Andrianarisandy</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a:rPr>
              <a:t>Website: </a:t>
            </a:r>
            <a:r>
              <a:rPr lang="en-ZA" sz="1400" dirty="0">
                <a:solidFill>
                  <a:schemeClr val="tx1"/>
                </a:solidFill>
                <a:latin typeface="Garamond"/>
                <a:hlinkClick r:id="rId8"/>
              </a:rPr>
              <a:t>https://www.linkedin.com/in/rebecca-andrianarisandy-784b66199</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a:rPr>
              <a:t>Email: </a:t>
            </a:r>
            <a:r>
              <a:rPr lang="en-ZA" sz="1400" dirty="0">
                <a:solidFill>
                  <a:schemeClr val="tx1"/>
                </a:solidFill>
                <a:latin typeface="Garamond"/>
                <a:hlinkClick r:id="rId9" action="ppaction://hlinksldjump"/>
              </a:rPr>
              <a:t>rebeccaandrianarisandy@gmail.com</a:t>
            </a:r>
            <a:endParaRPr lang="en-ZA" sz="1400" dirty="0">
              <a:solidFill>
                <a:schemeClr val="tx1"/>
              </a:solidFill>
              <a:latin typeface="Garamond"/>
            </a:endParaRPr>
          </a:p>
          <a:p>
            <a:r>
              <a:rPr lang="en-ZA" sz="1400" b="1" dirty="0">
                <a:solidFill>
                  <a:schemeClr val="tx1"/>
                </a:solidFill>
                <a:latin typeface="Garamond"/>
              </a:rPr>
              <a:t>WhatsApp: </a:t>
            </a:r>
            <a:r>
              <a:rPr lang="en-ZA" sz="1400" dirty="0">
                <a:solidFill>
                  <a:schemeClr val="tx1"/>
                </a:solidFill>
                <a:latin typeface="Garamond"/>
              </a:rPr>
              <a:t>+261 3496 856 15</a:t>
            </a:r>
            <a:endParaRPr lang="en-GB" sz="1400" dirty="0">
              <a:solidFill>
                <a:schemeClr val="tx1"/>
              </a:solidFill>
              <a:latin typeface="Garamond"/>
            </a:endParaRPr>
          </a:p>
        </p:txBody>
      </p:sp>
    </p:spTree>
    <p:extLst>
      <p:ext uri="{BB962C8B-B14F-4D97-AF65-F5344CB8AC3E}">
        <p14:creationId xmlns:p14="http://schemas.microsoft.com/office/powerpoint/2010/main" val="2912178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DFF4617-80C7-44AE-8C1D-D624E6B2B9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2315"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xmlns="" id="{BDFF4617-80C7-44AE-8C1D-D624E6B2B9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B7265FF9-8937-45DC-A206-35B80C6D4F5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3D520A6E-B05A-4972-AC05-90A0E2350B7D}"/>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536857" cy="609600"/>
          </a:xfrm>
        </p:spPr>
        <p:txBody>
          <a:bodyPr>
            <a:noAutofit/>
          </a:bodyPr>
          <a:lstStyle/>
          <a:p>
            <a:r>
              <a:rPr lang="en-ZA" sz="2800" b="1" dirty="0">
                <a:solidFill>
                  <a:srgbClr val="862624"/>
                </a:solidFill>
              </a:rPr>
              <a:t>Christian </a:t>
            </a:r>
            <a:r>
              <a:rPr lang="en-ZA" sz="2800" b="1" dirty="0" err="1">
                <a:solidFill>
                  <a:srgbClr val="862624"/>
                </a:solidFill>
              </a:rPr>
              <a:t>Tesfaye</a:t>
            </a:r>
            <a:r>
              <a:rPr lang="en-ZA" sz="2800" b="1" dirty="0">
                <a:solidFill>
                  <a:srgbClr val="862624"/>
                </a:solidFill>
              </a:rPr>
              <a:t> – GebeyaNet: </a:t>
            </a:r>
            <a:r>
              <a:rPr lang="en-US" sz="2800" b="1" dirty="0">
                <a:solidFill>
                  <a:srgbClr val="862624"/>
                </a:solidFill>
              </a:rPr>
              <a:t>Agricultural E-Commerce</a:t>
            </a:r>
          </a:p>
        </p:txBody>
      </p:sp>
      <p:pic>
        <p:nvPicPr>
          <p:cNvPr id="2" name="Picture 1"/>
          <p:cNvPicPr>
            <a:picLocks noChangeAspect="1"/>
          </p:cNvPicPr>
          <p:nvPr/>
        </p:nvPicPr>
        <p:blipFill rotWithShape="1">
          <a:blip r:embed="rId8" cstate="print">
            <a:extLst>
              <a:ext uri="{28A0092B-C50C-407E-A947-70E740481C1C}">
                <a14:useLocalDpi xmlns:a14="http://schemas.microsoft.com/office/drawing/2010/main" val="0"/>
              </a:ext>
            </a:extLst>
          </a:blip>
          <a:srcRect l="4390" t="6106" r="37330" b="25193"/>
          <a:stretch/>
        </p:blipFill>
        <p:spPr>
          <a:xfrm>
            <a:off x="1293712" y="1879720"/>
            <a:ext cx="2729250" cy="2371344"/>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CHRISTIAN</a:t>
            </a:r>
          </a:p>
          <a:p>
            <a:pPr algn="ctr"/>
            <a:r>
              <a:rPr lang="en-US" sz="1400" dirty="0">
                <a:solidFill>
                  <a:srgbClr val="862624"/>
                </a:solidFill>
                <a:latin typeface="Garamond"/>
              </a:rPr>
              <a:t>By the age of 17 Christian was a self-taught developer and coder who started his first business, Syntex Systems. Syntex Systems developed various software products including a lightweight cloud-based ERP. At the age of 19, he identified a problem in the agricultural sector and decided to work on a solution that could help farmers and his community- </a:t>
            </a:r>
            <a:r>
              <a:rPr lang="en-US" sz="1400" dirty="0" err="1">
                <a:solidFill>
                  <a:srgbClr val="862624"/>
                </a:solidFill>
                <a:latin typeface="Garamond"/>
              </a:rPr>
              <a:t>GebeyaNet</a:t>
            </a:r>
            <a:r>
              <a:rPr lang="en-US" sz="1400" dirty="0">
                <a:solidFill>
                  <a:srgbClr val="862624"/>
                </a:solidFill>
                <a:latin typeface="Garamond"/>
              </a:rPr>
              <a:t>.</a:t>
            </a:r>
          </a:p>
          <a:p>
            <a:pPr algn="ctr"/>
            <a:endParaRPr lang="en-US" sz="14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GebeyaNet</a:t>
            </a:r>
          </a:p>
          <a:p>
            <a:pPr lvl="1"/>
            <a:r>
              <a:rPr lang="en-US" b="1" dirty="0">
                <a:solidFill>
                  <a:schemeClr val="tx1"/>
                </a:solidFill>
                <a:latin typeface="Garamond"/>
              </a:rPr>
              <a:t>BUSINESS ACTIVITIES: </a:t>
            </a:r>
            <a:r>
              <a:rPr lang="en-US" dirty="0" err="1">
                <a:solidFill>
                  <a:schemeClr val="tx1"/>
                </a:solidFill>
                <a:latin typeface="Garamond"/>
              </a:rPr>
              <a:t>GebeyaNet</a:t>
            </a:r>
            <a:r>
              <a:rPr lang="en-US" dirty="0">
                <a:solidFill>
                  <a:schemeClr val="tx1"/>
                </a:solidFill>
                <a:latin typeface="Garamond"/>
              </a:rPr>
              <a:t> is a web based platform that connects farmers, consumers and transporters. The platform offers services that is inclusive of USSD, a website, a GPS system, SMS services, a call </a:t>
            </a:r>
            <a:r>
              <a:rPr lang="en-US" dirty="0" err="1">
                <a:solidFill>
                  <a:schemeClr val="tx1"/>
                </a:solidFill>
                <a:latin typeface="Garamond"/>
              </a:rPr>
              <a:t>centre</a:t>
            </a:r>
            <a:r>
              <a:rPr lang="en-US" dirty="0">
                <a:solidFill>
                  <a:schemeClr val="tx1"/>
                </a:solidFill>
                <a:latin typeface="Garamond"/>
              </a:rPr>
              <a:t> and IVR service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Ethiopia</a:t>
            </a:r>
          </a:p>
          <a:p>
            <a:pPr lvl="1"/>
            <a:r>
              <a:rPr lang="en-US" b="1" dirty="0">
                <a:solidFill>
                  <a:schemeClr val="tx1"/>
                </a:solidFill>
                <a:latin typeface="Garamond"/>
              </a:rPr>
              <a:t>JOBS CREATED (Full &amp; Part Time): </a:t>
            </a:r>
            <a:r>
              <a:rPr lang="en-US" dirty="0">
                <a:solidFill>
                  <a:schemeClr val="tx1"/>
                </a:solidFill>
                <a:latin typeface="Garamond"/>
              </a:rPr>
              <a:t>3</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Christian </a:t>
            </a:r>
            <a:r>
              <a:rPr lang="en-ZA" sz="1400" dirty="0" err="1">
                <a:solidFill>
                  <a:schemeClr val="tx1"/>
                </a:solidFill>
                <a:latin typeface="Garamond" panose="02020404030301010803" pitchFamily="18" charset="0"/>
              </a:rPr>
              <a:t>Tesfaye</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US" sz="1400" dirty="0">
                <a:solidFill>
                  <a:schemeClr val="tx1"/>
                </a:solidFill>
                <a:latin typeface="Garamond" panose="02020404030301010803" pitchFamily="18" charset="0"/>
                <a:hlinkClick r:id="rId9"/>
              </a:rPr>
              <a:t>https://www.linkedin.com/in/christian-tesfaye-41213abb/</a:t>
            </a:r>
            <a:r>
              <a:rPr lang="en-US" sz="1400" dirty="0">
                <a:solidFill>
                  <a:schemeClr val="tx1"/>
                </a:solidFill>
                <a:latin typeface="Garamond" panose="02020404030301010803" pitchFamily="18" charset="0"/>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rPr>
              <a:t>christes7@gmail.com</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1 91 354 4259</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6994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142CE6-9528-413E-B679-C324D2F2AFF5}"/>
              </a:ext>
            </a:extLst>
          </p:cNvPr>
          <p:cNvGraphicFramePr>
            <a:graphicFrameLocks noChangeAspect="1"/>
          </p:cNvGraphicFramePr>
          <p:nvPr>
            <p:custDataLst>
              <p:tags r:id="rId2"/>
            </p:custDataLst>
            <p:extLst>
              <p:ext uri="{D42A27DB-BD31-4B8C-83A1-F6EECF244321}">
                <p14:modId xmlns:p14="http://schemas.microsoft.com/office/powerpoint/2010/main" val="408245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5055"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E38B771F-29D1-44C6-A6D2-BB0C62FEFF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Garamond" panose="02020404030301010803" pitchFamily="18" charset="0"/>
              <a:ea typeface="+mj-ea"/>
              <a:cs typeface="+mj-cs"/>
              <a:sym typeface="Garamond" panose="02020404030301010803" pitchFamily="18" charset="0"/>
            </a:endParaRPr>
          </a:p>
        </p:txBody>
      </p:sp>
      <p:sp>
        <p:nvSpPr>
          <p:cNvPr id="3" name="Title 2"/>
          <p:cNvSpPr>
            <a:spLocks noGrp="1"/>
          </p:cNvSpPr>
          <p:nvPr>
            <p:ph type="title"/>
          </p:nvPr>
        </p:nvSpPr>
        <p:spPr>
          <a:xfrm>
            <a:off x="1030014" y="480771"/>
            <a:ext cx="9112469" cy="609600"/>
          </a:xfrm>
        </p:spPr>
        <p:txBody>
          <a:bodyPr>
            <a:normAutofit/>
          </a:bodyPr>
          <a:lstStyle/>
          <a:p>
            <a:r>
              <a:rPr lang="en-US" altLang="ja-JP" sz="2800" b="1" dirty="0">
                <a:solidFill>
                  <a:srgbClr val="862624"/>
                </a:solidFill>
              </a:rPr>
              <a:t>Want to assist but not sure how? Some Ideas </a:t>
            </a:r>
            <a:endParaRPr lang="ja-JP" altLang="en-US" sz="2800" b="1" dirty="0">
              <a:solidFill>
                <a:srgbClr val="862624"/>
              </a:solidFill>
            </a:endParaRPr>
          </a:p>
        </p:txBody>
      </p:sp>
      <p:sp>
        <p:nvSpPr>
          <p:cNvPr id="14" name="TextBox 13"/>
          <p:cNvSpPr txBox="1"/>
          <p:nvPr/>
        </p:nvSpPr>
        <p:spPr>
          <a:xfrm>
            <a:off x="837968" y="1419509"/>
            <a:ext cx="4452017" cy="307777"/>
          </a:xfrm>
          <a:prstGeom prst="rect">
            <a:avLst/>
          </a:prstGeom>
          <a:noFill/>
        </p:spPr>
        <p:txBody>
          <a:bodyPr wrap="square" rtlCol="0">
            <a:spAutoFit/>
          </a:bodyPr>
          <a:lstStyle/>
          <a:p>
            <a:endParaRPr lang="en-US" sz="1400" dirty="0">
              <a:latin typeface="Garamond" panose="02020404030301010803" pitchFamily="18"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542243566"/>
              </p:ext>
            </p:extLst>
          </p:nvPr>
        </p:nvGraphicFramePr>
        <p:xfrm>
          <a:off x="1030014" y="1727284"/>
          <a:ext cx="9900744" cy="4673514"/>
        </p:xfrm>
        <a:graphic>
          <a:graphicData uri="http://schemas.openxmlformats.org/drawingml/2006/table">
            <a:tbl>
              <a:tblPr firstRow="1" bandRow="1">
                <a:tableStyleId>{5940675A-B579-460E-94D1-54222C63F5DA}</a:tableStyleId>
              </a:tblPr>
              <a:tblGrid>
                <a:gridCol w="4950372">
                  <a:extLst>
                    <a:ext uri="{9D8B030D-6E8A-4147-A177-3AD203B41FA5}">
                      <a16:colId xmlns:a16="http://schemas.microsoft.com/office/drawing/2014/main" xmlns="" val="20000"/>
                    </a:ext>
                  </a:extLst>
                </a:gridCol>
                <a:gridCol w="4950372">
                  <a:extLst>
                    <a:ext uri="{9D8B030D-6E8A-4147-A177-3AD203B41FA5}">
                      <a16:colId xmlns:a16="http://schemas.microsoft.com/office/drawing/2014/main" xmlns="" val="20001"/>
                    </a:ext>
                  </a:extLst>
                </a:gridCol>
              </a:tblGrid>
              <a:tr h="1557838">
                <a:tc>
                  <a:txBody>
                    <a:bodyPr/>
                    <a:lstStyle/>
                    <a:p>
                      <a:endParaRPr lang="en-US" dirty="0"/>
                    </a:p>
                  </a:txBody>
                  <a:tcP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endParaRPr lang="en-US" dirty="0"/>
                    </a:p>
                  </a:txBody>
                  <a:tcP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xmlns="" val="10000"/>
                  </a:ext>
                </a:extLst>
              </a:tr>
              <a:tr h="1557838">
                <a:tc>
                  <a:txBody>
                    <a:bodyPr/>
                    <a:lstStyle/>
                    <a:p>
                      <a:endParaRPr lang="en-US" dirty="0"/>
                    </a:p>
                  </a:txBody>
                  <a:tcP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endParaRPr lang="en-US" dirty="0"/>
                    </a:p>
                  </a:txBody>
                  <a:tcP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xmlns="" val="10001"/>
                  </a:ext>
                </a:extLst>
              </a:tr>
              <a:tr h="1557838">
                <a:tc>
                  <a:txBody>
                    <a:bodyPr/>
                    <a:lstStyle/>
                    <a:p>
                      <a:endParaRPr lang="en-US" dirty="0"/>
                    </a:p>
                  </a:txBody>
                  <a:tcP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10000"/>
                        <a:lumOff val="90000"/>
                      </a:schemeClr>
                    </a:solidFill>
                  </a:tcPr>
                </a:tc>
                <a:tc>
                  <a:txBody>
                    <a:bodyPr/>
                    <a:lstStyle/>
                    <a:p>
                      <a:endParaRPr lang="en-US" dirty="0"/>
                    </a:p>
                  </a:txBody>
                  <a:tcP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xmlns="" val="10002"/>
                  </a:ext>
                </a:extLst>
              </a:tr>
            </a:tbl>
          </a:graphicData>
        </a:graphic>
      </p:graphicFrame>
      <p:sp>
        <p:nvSpPr>
          <p:cNvPr id="7" name="Oval 6"/>
          <p:cNvSpPr/>
          <p:nvPr/>
        </p:nvSpPr>
        <p:spPr>
          <a:xfrm>
            <a:off x="837968" y="1573397"/>
            <a:ext cx="683172" cy="62703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atin typeface="Garamond" panose="02020404030301010803" pitchFamily="18" charset="0"/>
              </a:rPr>
              <a:t>1</a:t>
            </a:r>
          </a:p>
        </p:txBody>
      </p:sp>
      <p:sp>
        <p:nvSpPr>
          <p:cNvPr id="19" name="Oval 18"/>
          <p:cNvSpPr/>
          <p:nvPr/>
        </p:nvSpPr>
        <p:spPr>
          <a:xfrm>
            <a:off x="837968" y="3186735"/>
            <a:ext cx="683172" cy="62703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atin typeface="Garamond" panose="02020404030301010803" pitchFamily="18" charset="0"/>
              </a:rPr>
              <a:t>2</a:t>
            </a:r>
          </a:p>
        </p:txBody>
      </p:sp>
      <p:sp>
        <p:nvSpPr>
          <p:cNvPr id="22" name="Oval 21"/>
          <p:cNvSpPr/>
          <p:nvPr/>
        </p:nvSpPr>
        <p:spPr>
          <a:xfrm>
            <a:off x="837968" y="4658183"/>
            <a:ext cx="683172" cy="62703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atin typeface="Garamond" panose="02020404030301010803" pitchFamily="18" charset="0"/>
              </a:rPr>
              <a:t>3</a:t>
            </a:r>
          </a:p>
        </p:txBody>
      </p:sp>
      <p:sp>
        <p:nvSpPr>
          <p:cNvPr id="23" name="Oval 22"/>
          <p:cNvSpPr/>
          <p:nvPr/>
        </p:nvSpPr>
        <p:spPr>
          <a:xfrm>
            <a:off x="5846148" y="1573397"/>
            <a:ext cx="683172" cy="62703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atin typeface="Garamond" panose="02020404030301010803" pitchFamily="18" charset="0"/>
              </a:rPr>
              <a:t>4</a:t>
            </a:r>
          </a:p>
        </p:txBody>
      </p:sp>
      <p:sp>
        <p:nvSpPr>
          <p:cNvPr id="24" name="Oval 23"/>
          <p:cNvSpPr/>
          <p:nvPr/>
        </p:nvSpPr>
        <p:spPr>
          <a:xfrm>
            <a:off x="5846148" y="3186735"/>
            <a:ext cx="683172" cy="62703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atin typeface="Garamond" panose="02020404030301010803" pitchFamily="18" charset="0"/>
              </a:rPr>
              <a:t>5</a:t>
            </a:r>
          </a:p>
        </p:txBody>
      </p:sp>
      <p:sp>
        <p:nvSpPr>
          <p:cNvPr id="25" name="Oval 24"/>
          <p:cNvSpPr/>
          <p:nvPr/>
        </p:nvSpPr>
        <p:spPr>
          <a:xfrm>
            <a:off x="5846148" y="4658183"/>
            <a:ext cx="683172" cy="627030"/>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atin typeface="Garamond" panose="02020404030301010803" pitchFamily="18" charset="0"/>
              </a:rPr>
              <a:t>6</a:t>
            </a:r>
          </a:p>
        </p:txBody>
      </p:sp>
      <p:sp>
        <p:nvSpPr>
          <p:cNvPr id="27" name="Rectangle 26">
            <a:extLst>
              <a:ext uri="{FF2B5EF4-FFF2-40B4-BE49-F238E27FC236}">
                <a16:creationId xmlns:a16="http://schemas.microsoft.com/office/drawing/2014/main" xmlns="" id="{2501E1C7-AA9B-2E47-A995-89E627997183}"/>
              </a:ext>
            </a:extLst>
          </p:cNvPr>
          <p:cNvSpPr/>
          <p:nvPr/>
        </p:nvSpPr>
        <p:spPr>
          <a:xfrm>
            <a:off x="1605222" y="1886912"/>
            <a:ext cx="3768845" cy="861774"/>
          </a:xfrm>
          <a:prstGeom prst="rect">
            <a:avLst/>
          </a:prstGeom>
        </p:spPr>
        <p:txBody>
          <a:bodyPr wrap="square">
            <a:spAutoFit/>
          </a:bodyPr>
          <a:lstStyle/>
          <a:p>
            <a:r>
              <a:rPr lang="en-ZA" sz="1400" b="1" dirty="0">
                <a:solidFill>
                  <a:srgbClr val="862624"/>
                </a:solidFill>
                <a:latin typeface="Garamond" panose="02020404030301010803" pitchFamily="18" charset="0"/>
              </a:rPr>
              <a:t>SHOP EARLY</a:t>
            </a:r>
          </a:p>
          <a:p>
            <a:r>
              <a:rPr lang="en-ZA" sz="1200" dirty="0">
                <a:latin typeface="Garamond" panose="02020404030301010803" pitchFamily="18" charset="0"/>
              </a:rPr>
              <a:t>If you’re in a financial position to do so, go ahead and complete shopping now that you would typically wait to do for a few months. </a:t>
            </a:r>
            <a:endParaRPr lang="en-US" sz="1200" dirty="0">
              <a:latin typeface="Garamond" panose="02020404030301010803" pitchFamily="18" charset="0"/>
            </a:endParaRPr>
          </a:p>
        </p:txBody>
      </p:sp>
      <p:sp>
        <p:nvSpPr>
          <p:cNvPr id="28" name="TextBox 27">
            <a:extLst>
              <a:ext uri="{FF2B5EF4-FFF2-40B4-BE49-F238E27FC236}">
                <a16:creationId xmlns:a16="http://schemas.microsoft.com/office/drawing/2014/main" xmlns="" id="{BB59A296-BFF5-AD4E-8C8C-AE732146675A}"/>
              </a:ext>
            </a:extLst>
          </p:cNvPr>
          <p:cNvSpPr txBox="1"/>
          <p:nvPr/>
        </p:nvSpPr>
        <p:spPr>
          <a:xfrm>
            <a:off x="1605222" y="3500250"/>
            <a:ext cx="3768845" cy="1046440"/>
          </a:xfrm>
          <a:prstGeom prst="rect">
            <a:avLst/>
          </a:prstGeom>
          <a:noFill/>
        </p:spPr>
        <p:txBody>
          <a:bodyPr wrap="square" rtlCol="0">
            <a:spAutoFit/>
          </a:bodyPr>
          <a:lstStyle/>
          <a:p>
            <a:r>
              <a:rPr lang="en-US" sz="1400" b="1" dirty="0">
                <a:solidFill>
                  <a:srgbClr val="862624"/>
                </a:solidFill>
                <a:latin typeface="Garamond" panose="02020404030301010803" pitchFamily="18" charset="0"/>
              </a:rPr>
              <a:t>GIFT CERTIFICATES</a:t>
            </a:r>
          </a:p>
          <a:p>
            <a:r>
              <a:rPr lang="en-ZA" sz="1200" dirty="0">
                <a:latin typeface="Garamond" panose="02020404030301010803" pitchFamily="18" charset="0"/>
              </a:rPr>
              <a:t>Buying gift cards gives a small business a cash infusion now to make it through hard times.</a:t>
            </a:r>
            <a:r>
              <a:rPr lang="en-US" sz="1200" dirty="0">
                <a:latin typeface="Garamond" panose="02020404030301010803" pitchFamily="18" charset="0"/>
              </a:rPr>
              <a:t> The gift certificate can be used by yourself or to qualify their regular customers to redeem the product or service in the future. </a:t>
            </a:r>
          </a:p>
        </p:txBody>
      </p:sp>
      <p:sp>
        <p:nvSpPr>
          <p:cNvPr id="30" name="Rectangle 29">
            <a:extLst>
              <a:ext uri="{FF2B5EF4-FFF2-40B4-BE49-F238E27FC236}">
                <a16:creationId xmlns:a16="http://schemas.microsoft.com/office/drawing/2014/main" xmlns="" id="{3280B9CD-1ADA-C846-A7F3-768564E8B8CA}"/>
              </a:ext>
            </a:extLst>
          </p:cNvPr>
          <p:cNvSpPr/>
          <p:nvPr/>
        </p:nvSpPr>
        <p:spPr>
          <a:xfrm>
            <a:off x="1605222" y="4971698"/>
            <a:ext cx="4156843" cy="1231106"/>
          </a:xfrm>
          <a:prstGeom prst="rect">
            <a:avLst/>
          </a:prstGeom>
        </p:spPr>
        <p:txBody>
          <a:bodyPr wrap="square">
            <a:spAutoFit/>
          </a:bodyPr>
          <a:lstStyle/>
          <a:p>
            <a:r>
              <a:rPr lang="en-ZA" sz="1400" b="1" dirty="0">
                <a:solidFill>
                  <a:srgbClr val="862624"/>
                </a:solidFill>
                <a:latin typeface="Garamond" panose="02020404030301010803" pitchFamily="18" charset="0"/>
              </a:rPr>
              <a:t>EMPLOYEE RETENTION GRANT DONATION</a:t>
            </a:r>
          </a:p>
          <a:p>
            <a:r>
              <a:rPr lang="en-ZA" sz="1200" dirty="0">
                <a:latin typeface="Garamond" panose="02020404030301010803" pitchFamily="18" charset="0"/>
              </a:rPr>
              <a:t>The greatest concern for most business owners, at least initially, is how am I going to pay my bills this week, next week, and how long will this last. Donate funds to enable business owners to cover employee salaries in order to avoid letting go of people and contributing to the growing unemployment rate.</a:t>
            </a:r>
            <a:endParaRPr lang="en-US" sz="1200" dirty="0">
              <a:latin typeface="Garamond" panose="02020404030301010803" pitchFamily="18" charset="0"/>
            </a:endParaRPr>
          </a:p>
        </p:txBody>
      </p:sp>
      <p:sp>
        <p:nvSpPr>
          <p:cNvPr id="33" name="Rectangle 32">
            <a:extLst>
              <a:ext uri="{FF2B5EF4-FFF2-40B4-BE49-F238E27FC236}">
                <a16:creationId xmlns:a16="http://schemas.microsoft.com/office/drawing/2014/main" xmlns="" id="{C5E07941-C9E9-DD4C-AE34-42BE5FF20094}"/>
              </a:ext>
            </a:extLst>
          </p:cNvPr>
          <p:cNvSpPr/>
          <p:nvPr/>
        </p:nvSpPr>
        <p:spPr>
          <a:xfrm>
            <a:off x="6613403" y="4971698"/>
            <a:ext cx="3991535" cy="1231106"/>
          </a:xfrm>
          <a:prstGeom prst="rect">
            <a:avLst/>
          </a:prstGeom>
        </p:spPr>
        <p:txBody>
          <a:bodyPr wrap="square">
            <a:spAutoFit/>
          </a:bodyPr>
          <a:lstStyle/>
          <a:p>
            <a:r>
              <a:rPr lang="en-ZA" sz="1400" b="1" dirty="0">
                <a:solidFill>
                  <a:srgbClr val="862624"/>
                </a:solidFill>
                <a:latin typeface="Garamond" panose="02020404030301010803" pitchFamily="18" charset="0"/>
              </a:rPr>
              <a:t>HOST AN ONLINE MASTERCLASS</a:t>
            </a:r>
          </a:p>
          <a:p>
            <a:r>
              <a:rPr lang="en-ZA" sz="1200" dirty="0">
                <a:latin typeface="Garamond" panose="02020404030301010803" pitchFamily="18" charset="0"/>
              </a:rPr>
              <a:t>Share your expertise with small business owners on some creative ways to adjust their business models. We’ve heard od a local painting studio for kids selling take-home art kits you can organise for pickup or delivery. Help brainstorm how small businesses can make their products mobile or virtual.</a:t>
            </a:r>
            <a:endParaRPr lang="en-US" sz="1200" dirty="0">
              <a:latin typeface="Garamond" panose="02020404030301010803" pitchFamily="18" charset="0"/>
            </a:endParaRPr>
          </a:p>
        </p:txBody>
      </p:sp>
      <p:sp>
        <p:nvSpPr>
          <p:cNvPr id="34" name="Rectangle 33">
            <a:extLst>
              <a:ext uri="{FF2B5EF4-FFF2-40B4-BE49-F238E27FC236}">
                <a16:creationId xmlns:a16="http://schemas.microsoft.com/office/drawing/2014/main" xmlns="" id="{65628C5B-9402-3E47-8D6E-ED52010BCD47}"/>
              </a:ext>
            </a:extLst>
          </p:cNvPr>
          <p:cNvSpPr/>
          <p:nvPr/>
        </p:nvSpPr>
        <p:spPr>
          <a:xfrm>
            <a:off x="6613403" y="3500250"/>
            <a:ext cx="3991535" cy="1046440"/>
          </a:xfrm>
          <a:prstGeom prst="rect">
            <a:avLst/>
          </a:prstGeom>
        </p:spPr>
        <p:txBody>
          <a:bodyPr wrap="square">
            <a:spAutoFit/>
          </a:bodyPr>
          <a:lstStyle/>
          <a:p>
            <a:r>
              <a:rPr lang="en-ZA" sz="1400" b="1" dirty="0">
                <a:solidFill>
                  <a:srgbClr val="862624"/>
                </a:solidFill>
                <a:latin typeface="Garamond" panose="02020404030301010803" pitchFamily="18" charset="0"/>
              </a:rPr>
              <a:t>MARKET FOR A BUSINESS</a:t>
            </a:r>
            <a:r>
              <a:rPr lang="en-ZA" sz="1200" dirty="0">
                <a:solidFill>
                  <a:srgbClr val="862624"/>
                </a:solidFill>
                <a:latin typeface="Garamond" panose="02020404030301010803" pitchFamily="18" charset="0"/>
              </a:rPr>
              <a:t> </a:t>
            </a:r>
          </a:p>
          <a:p>
            <a:r>
              <a:rPr lang="en-ZA" sz="1200" dirty="0">
                <a:latin typeface="Garamond" panose="02020404030301010803" pitchFamily="18" charset="0"/>
              </a:rPr>
              <a:t>We each have our own in-person and virtual communities of influence and now is the time to utilize them. Tell your friends, colleagues, family and neighbours who to support and be vocal about it.</a:t>
            </a:r>
            <a:endParaRPr lang="en-US" sz="1200" dirty="0">
              <a:latin typeface="Garamond" panose="02020404030301010803" pitchFamily="18" charset="0"/>
            </a:endParaRPr>
          </a:p>
        </p:txBody>
      </p:sp>
      <p:sp>
        <p:nvSpPr>
          <p:cNvPr id="35" name="TextBox 34">
            <a:extLst>
              <a:ext uri="{FF2B5EF4-FFF2-40B4-BE49-F238E27FC236}">
                <a16:creationId xmlns:a16="http://schemas.microsoft.com/office/drawing/2014/main" xmlns="" id="{0BECEDEB-3B7E-C441-BA65-FD974E3026D0}"/>
              </a:ext>
            </a:extLst>
          </p:cNvPr>
          <p:cNvSpPr txBox="1"/>
          <p:nvPr/>
        </p:nvSpPr>
        <p:spPr>
          <a:xfrm>
            <a:off x="6613403" y="1886912"/>
            <a:ext cx="3991535" cy="1231106"/>
          </a:xfrm>
          <a:prstGeom prst="rect">
            <a:avLst/>
          </a:prstGeom>
          <a:noFill/>
        </p:spPr>
        <p:txBody>
          <a:bodyPr wrap="square" rtlCol="0">
            <a:spAutoFit/>
          </a:bodyPr>
          <a:lstStyle/>
          <a:p>
            <a:r>
              <a:rPr lang="en-US" sz="1400" b="1" dirty="0">
                <a:solidFill>
                  <a:srgbClr val="862624"/>
                </a:solidFill>
                <a:latin typeface="Garamond" panose="02020404030301010803" pitchFamily="18" charset="0"/>
              </a:rPr>
              <a:t>LEAVE A POSITIVE REVIEW ONLINE</a:t>
            </a:r>
          </a:p>
          <a:p>
            <a:r>
              <a:rPr lang="en-ZA" sz="1200" dirty="0">
                <a:latin typeface="Garamond" panose="02020404030301010803" pitchFamily="18" charset="0"/>
              </a:rPr>
              <a:t>Leave a positive review online — We’ve all headed to Google, Yelp, </a:t>
            </a:r>
            <a:r>
              <a:rPr lang="en-ZA" sz="1200" dirty="0" err="1">
                <a:latin typeface="Garamond" panose="02020404030301010803" pitchFamily="18" charset="0"/>
              </a:rPr>
              <a:t>Tripadvisor</a:t>
            </a:r>
            <a:r>
              <a:rPr lang="en-ZA" sz="1200" dirty="0">
                <a:latin typeface="Garamond" panose="02020404030301010803" pitchFamily="18" charset="0"/>
              </a:rPr>
              <a:t> and other review services to get the lowdown on a small business. These reviews have incredibly tangible impacts on a business. Take a few minutes and leave your </a:t>
            </a:r>
            <a:r>
              <a:rPr lang="en-ZA" sz="1200" dirty="0" err="1">
                <a:latin typeface="Garamond" panose="02020404030301010803" pitchFamily="18" charset="0"/>
              </a:rPr>
              <a:t>favorite</a:t>
            </a:r>
            <a:r>
              <a:rPr lang="en-ZA" sz="1200" dirty="0">
                <a:latin typeface="Garamond" panose="02020404030301010803" pitchFamily="18" charset="0"/>
              </a:rPr>
              <a:t> small businesses a positive review.</a:t>
            </a:r>
            <a:endParaRPr lang="en-US" sz="1200" dirty="0">
              <a:latin typeface="Garamond" panose="02020404030301010803" pitchFamily="18" charset="0"/>
            </a:endParaRPr>
          </a:p>
        </p:txBody>
      </p:sp>
    </p:spTree>
    <p:extLst>
      <p:ext uri="{BB962C8B-B14F-4D97-AF65-F5344CB8AC3E}">
        <p14:creationId xmlns:p14="http://schemas.microsoft.com/office/powerpoint/2010/main" val="2765508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963CB41-CB54-49A9-B288-EB0F4E6A60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3196"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xmlns="" id="{A963CB41-CB54-49A9-B288-EB0F4E6A60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607ED83A-B0B7-47FC-A50D-B2CF934F2E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4CCECA8A-3E14-4C06-9FD6-8CA69BDACC0A}"/>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rmAutofit/>
          </a:bodyPr>
          <a:lstStyle/>
          <a:p>
            <a:r>
              <a:rPr lang="en-ZA" sz="2800" b="1" dirty="0">
                <a:solidFill>
                  <a:srgbClr val="862624"/>
                </a:solidFill>
                <a:latin typeface="Garamond"/>
              </a:rPr>
              <a:t>Godiragetse Mogajane – Goodie Tutors: Tutoring services</a:t>
            </a:r>
          </a:p>
        </p:txBody>
      </p:sp>
      <p:pic>
        <p:nvPicPr>
          <p:cNvPr id="2" name="Picture 1"/>
          <p:cNvPicPr preferRelativeResize="0">
            <a:picLocks/>
          </p:cNvPicPr>
          <p:nvPr/>
        </p:nvPicPr>
        <p:blipFill rotWithShape="1">
          <a:blip r:embed="rId8" cstate="print">
            <a:extLst>
              <a:ext uri="{28A0092B-C50C-407E-A947-70E740481C1C}">
                <a14:useLocalDpi xmlns:a14="http://schemas.microsoft.com/office/drawing/2010/main" val="0"/>
              </a:ext>
            </a:extLst>
          </a:blip>
          <a:srcRect l="2376" b="15181"/>
          <a:stretch/>
        </p:blipFill>
        <p:spPr>
          <a:xfrm>
            <a:off x="1293711"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a:rPr>
              <a:t>ABOUT GODIRAGETSE</a:t>
            </a:r>
            <a:endParaRPr lang="en-US" sz="1600" b="1" dirty="0">
              <a:solidFill>
                <a:srgbClr val="862624"/>
              </a:solidFill>
              <a:latin typeface="Garamond" panose="02020404030301010803" pitchFamily="18" charset="0"/>
            </a:endParaRPr>
          </a:p>
          <a:p>
            <a:pPr algn="ctr"/>
            <a:r>
              <a:rPr lang="en-US" sz="1400" dirty="0">
                <a:solidFill>
                  <a:srgbClr val="862624"/>
                </a:solidFill>
                <a:latin typeface="Garamond"/>
              </a:rPr>
              <a:t>Godiragetse is deeply passionate about social educational development. He is the founder of Goodie Tutors (Pty) Ltd and is also the brain child behind </a:t>
            </a:r>
            <a:r>
              <a:rPr lang="en-US" sz="1400" dirty="0" err="1">
                <a:solidFill>
                  <a:srgbClr val="862624"/>
                </a:solidFill>
                <a:latin typeface="Garamond"/>
              </a:rPr>
              <a:t>AskGoodie</a:t>
            </a:r>
            <a:r>
              <a:rPr lang="en-US" sz="1400" dirty="0">
                <a:solidFill>
                  <a:srgbClr val="862624"/>
                </a:solidFill>
                <a:latin typeface="Garamond"/>
              </a:rPr>
              <a:t>, a Mathematics and Science call-</a:t>
            </a:r>
            <a:r>
              <a:rPr lang="en-US" sz="1400" dirty="0" err="1">
                <a:solidFill>
                  <a:srgbClr val="862624"/>
                </a:solidFill>
                <a:latin typeface="Garamond"/>
              </a:rPr>
              <a:t>centre</a:t>
            </a:r>
            <a:r>
              <a:rPr lang="en-US" sz="1400" dirty="0">
                <a:solidFill>
                  <a:srgbClr val="862624"/>
                </a:solidFill>
                <a:latin typeface="Garamond"/>
              </a:rPr>
              <a:t> platform which Godiragetse and his small team of </a:t>
            </a:r>
            <a:r>
              <a:rPr lang="en-US" sz="1400" dirty="0" err="1">
                <a:solidFill>
                  <a:srgbClr val="862624"/>
                </a:solidFill>
                <a:latin typeface="Garamond"/>
              </a:rPr>
              <a:t>Edupreneurs</a:t>
            </a:r>
            <a:r>
              <a:rPr lang="en-US" sz="1400" dirty="0">
                <a:solidFill>
                  <a:srgbClr val="862624"/>
                </a:solidFill>
                <a:latin typeface="Garamond"/>
              </a:rPr>
              <a:t> believe will revolutionize the education landscape in South Africa.</a:t>
            </a:r>
          </a:p>
          <a:p>
            <a:pPr algn="ctr"/>
            <a:endParaRPr lang="en-US" sz="1400" dirty="0">
              <a:solidFill>
                <a:srgbClr val="862624"/>
              </a:solidFill>
              <a:latin typeface="Garamond"/>
            </a:endParaRPr>
          </a:p>
          <a:p>
            <a:pPr algn="ctr"/>
            <a:endParaRPr lang="en-US" sz="14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a:solidFill>
                  <a:schemeClr val="tx1"/>
                </a:solidFill>
                <a:latin typeface="Garamond"/>
              </a:rPr>
              <a:t>Goodie Tutors</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a:solidFill>
                  <a:schemeClr val="tx1"/>
                </a:solidFill>
                <a:latin typeface="Garamond"/>
              </a:rPr>
              <a:t>Goodie Tutors is a tutoring agency which provides exam-focused lessons for primary school, high school, and university students.</a:t>
            </a:r>
          </a:p>
          <a:p>
            <a:pPr lvl="1"/>
            <a:r>
              <a:rPr lang="en-US" b="1" dirty="0">
                <a:solidFill>
                  <a:schemeClr val="tx1"/>
                </a:solidFill>
                <a:latin typeface="Garamond"/>
              </a:rPr>
              <a:t>BUSINESS LOCATION: </a:t>
            </a:r>
            <a:r>
              <a:rPr lang="en-US" dirty="0">
                <a:solidFill>
                  <a:schemeClr val="tx1"/>
                </a:solidFill>
                <a:latin typeface="Garamond" panose="02020404030301010803" pitchFamily="18" charset="0"/>
              </a:rPr>
              <a:t>South</a:t>
            </a:r>
            <a:r>
              <a:rPr lang="en-US" b="1" dirty="0">
                <a:solidFill>
                  <a:schemeClr val="tx1"/>
                </a:solidFill>
                <a:latin typeface="Garamond"/>
              </a:rPr>
              <a:t> </a:t>
            </a:r>
            <a:r>
              <a:rPr lang="en-US" dirty="0">
                <a:solidFill>
                  <a:schemeClr val="tx1"/>
                </a:solidFill>
                <a:latin typeface="Garamond" panose="02020404030301010803" pitchFamily="18" charset="0"/>
              </a:rPr>
              <a:t>Afric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a:rPr>
              <a:t>155</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err="1">
                <a:solidFill>
                  <a:schemeClr val="tx1"/>
                </a:solidFill>
                <a:latin typeface="Garamond"/>
              </a:rPr>
              <a:t>Godiragetse</a:t>
            </a:r>
            <a:r>
              <a:rPr lang="en-ZA" sz="1400" dirty="0">
                <a:solidFill>
                  <a:schemeClr val="tx1"/>
                </a:solidFill>
                <a:latin typeface="Garamond"/>
              </a:rPr>
              <a:t> </a:t>
            </a:r>
            <a:r>
              <a:rPr lang="en-ZA" sz="1400" dirty="0" err="1">
                <a:solidFill>
                  <a:schemeClr val="tx1"/>
                </a:solidFill>
                <a:latin typeface="Garamond"/>
              </a:rPr>
              <a:t>Mogajane</a:t>
            </a:r>
            <a:endParaRPr lang="en-ZA" sz="1400" dirty="0" err="1">
              <a:solidFill>
                <a:schemeClr val="tx1"/>
              </a:solidFill>
              <a:latin typeface="Garamond" panose="02020404030301010803" pitchFamily="18" charset="0"/>
            </a:endParaRPr>
          </a:p>
          <a:p>
            <a:r>
              <a:rPr lang="en-ZA" sz="1400" b="1" dirty="0">
                <a:solidFill>
                  <a:schemeClr val="tx1"/>
                </a:solidFill>
                <a:latin typeface="Garamond"/>
              </a:rPr>
              <a:t>Website: </a:t>
            </a:r>
            <a:r>
              <a:rPr lang="en-ZA" sz="1400" dirty="0">
                <a:solidFill>
                  <a:schemeClr val="tx1"/>
                </a:solidFill>
                <a:latin typeface="Garamond"/>
                <a:hlinkClick r:id="rId9"/>
              </a:rPr>
              <a:t>http://goodietutors.co.za/</a:t>
            </a:r>
            <a:r>
              <a:rPr lang="en-ZA" sz="1400" dirty="0">
                <a:solidFill>
                  <a:schemeClr val="tx1"/>
                </a:solidFill>
                <a:latin typeface="Garamond"/>
              </a:rPr>
              <a:t> </a:t>
            </a:r>
          </a:p>
          <a:p>
            <a:r>
              <a:rPr lang="en-ZA" sz="1400" b="1" dirty="0">
                <a:solidFill>
                  <a:schemeClr val="tx1"/>
                </a:solidFill>
                <a:latin typeface="Garamond"/>
              </a:rPr>
              <a:t>Email: </a:t>
            </a:r>
            <a:r>
              <a:rPr lang="en-ZA" sz="1400" b="1" dirty="0">
                <a:solidFill>
                  <a:schemeClr val="tx1"/>
                </a:solidFill>
                <a:latin typeface="Garamond"/>
                <a:hlinkClick r:id="rId10"/>
              </a:rPr>
              <a:t>godiragetse@goodietutors.co.za</a:t>
            </a:r>
            <a:r>
              <a:rPr lang="en-ZA" sz="1400" b="1" dirty="0">
                <a:solidFill>
                  <a:schemeClr val="tx1"/>
                </a:solidFill>
                <a:latin typeface="Garamond"/>
              </a:rPr>
              <a:t> </a:t>
            </a:r>
            <a:endParaRPr lang="en-ZA" sz="1400" dirty="0">
              <a:solidFill>
                <a:schemeClr val="tx1"/>
              </a:solidFill>
              <a:latin typeface="Garamond"/>
            </a:endParaRPr>
          </a:p>
          <a:p>
            <a:r>
              <a:rPr lang="en-ZA" sz="1400" b="1" dirty="0">
                <a:solidFill>
                  <a:schemeClr val="tx1"/>
                </a:solidFill>
                <a:latin typeface="Garamond"/>
              </a:rPr>
              <a:t>WhatsApp: </a:t>
            </a:r>
            <a:r>
              <a:rPr lang="en-ZA" sz="1400" dirty="0">
                <a:solidFill>
                  <a:schemeClr val="tx1"/>
                </a:solidFill>
                <a:latin typeface="Garamond"/>
              </a:rPr>
              <a:t>+27 64 618 2246</a:t>
            </a:r>
            <a:endParaRPr lang="en-GB" sz="1400" dirty="0">
              <a:solidFill>
                <a:schemeClr val="tx1"/>
              </a:solidFill>
              <a:latin typeface="Garamond"/>
            </a:endParaRPr>
          </a:p>
        </p:txBody>
      </p:sp>
    </p:spTree>
    <p:extLst>
      <p:ext uri="{BB962C8B-B14F-4D97-AF65-F5344CB8AC3E}">
        <p14:creationId xmlns:p14="http://schemas.microsoft.com/office/powerpoint/2010/main" val="2535216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D0983D6-2E09-4BB5-8FE1-9744A48CDA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664" name="think-cell Slide" r:id="rId6" imgW="421" imgH="423" progId="TCLayout.ActiveDocument.1">
                  <p:embed/>
                </p:oleObj>
              </mc:Choice>
              <mc:Fallback>
                <p:oleObj name="think-cell Slide" r:id="rId6" imgW="421" imgH="423" progId="TCLayout.ActiveDocument.1">
                  <p:embed/>
                  <p:pic>
                    <p:nvPicPr>
                      <p:cNvPr id="3" name="Object 2" hidden="1">
                        <a:extLst>
                          <a:ext uri="{FF2B5EF4-FFF2-40B4-BE49-F238E27FC236}">
                            <a16:creationId xmlns:a16="http://schemas.microsoft.com/office/drawing/2014/main" xmlns="" id="{FD0983D6-2E09-4BB5-8FE1-9744A48CDA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ED1D170-A328-4625-8542-82FF153AEA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3" name="Rectangle 12">
            <a:extLst>
              <a:ext uri="{FF2B5EF4-FFF2-40B4-BE49-F238E27FC236}">
                <a16:creationId xmlns:a16="http://schemas.microsoft.com/office/drawing/2014/main" xmlns="" id="{8762CBB0-B09A-4AC6-9024-826EF534C05F}"/>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8" name="Title 4"/>
          <p:cNvSpPr>
            <a:spLocks noGrp="1"/>
          </p:cNvSpPr>
          <p:nvPr>
            <p:ph type="title"/>
          </p:nvPr>
        </p:nvSpPr>
        <p:spPr>
          <a:xfrm>
            <a:off x="1007442" y="466828"/>
            <a:ext cx="10536857" cy="609600"/>
          </a:xfrm>
        </p:spPr>
        <p:txBody>
          <a:bodyPr>
            <a:noAutofit/>
          </a:bodyPr>
          <a:lstStyle/>
          <a:p>
            <a:r>
              <a:rPr lang="en-ZA" sz="2500" b="1" dirty="0"/>
              <a:t>Edgar Edmund </a:t>
            </a:r>
            <a:r>
              <a:rPr lang="en-ZA" sz="2500" b="1" dirty="0">
                <a:solidFill>
                  <a:srgbClr val="862624"/>
                </a:solidFill>
              </a:rPr>
              <a:t>– </a:t>
            </a:r>
            <a:r>
              <a:rPr lang="en-ZA" sz="2500" b="1" dirty="0"/>
              <a:t>Green Venture Tanzania: Recycled construction material</a:t>
            </a:r>
            <a:endParaRPr lang="en-US" sz="2500" b="1" dirty="0">
              <a:solidFill>
                <a:srgbClr val="862624"/>
              </a:solidFill>
            </a:endParaRPr>
          </a:p>
        </p:txBody>
      </p:sp>
      <p:pic>
        <p:nvPicPr>
          <p:cNvPr id="9" name="Picture 8"/>
          <p:cNvPicPr preferRelativeResize="0">
            <a:picLocks/>
          </p:cNvPicPr>
          <p:nvPr/>
        </p:nvPicPr>
        <p:blipFill rotWithShape="1">
          <a:blip r:embed="rId8">
            <a:extLst>
              <a:ext uri="{28A0092B-C50C-407E-A947-70E740481C1C}">
                <a14:useLocalDpi xmlns:a14="http://schemas.microsoft.com/office/drawing/2010/main" val="0"/>
              </a:ext>
            </a:extLst>
          </a:blip>
          <a:srcRect l="4485" t="3534" r="3061" b="8047"/>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10" name="Rectangle 9"/>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EDGAR</a:t>
            </a:r>
          </a:p>
          <a:p>
            <a:pPr algn="ctr"/>
            <a:r>
              <a:rPr lang="en-US" sz="1400" dirty="0">
                <a:solidFill>
                  <a:srgbClr val="862624"/>
                </a:solidFill>
                <a:latin typeface="Garamond" panose="02020404030301010803" pitchFamily="18" charset="0"/>
              </a:rPr>
              <a:t>Edgar Edmund is the founder of Green Venture Tanzania. After seeing how the rain and floods destroyed houses in his country due to poor foundations and poor building materials, Edgar was inspired to solve this problem by turning adversity into opportunity.</a:t>
            </a:r>
          </a:p>
          <a:p>
            <a:pPr algn="ctr"/>
            <a:endParaRPr lang="en-US" sz="1400" dirty="0">
              <a:solidFill>
                <a:srgbClr val="862624"/>
              </a:solidFill>
              <a:latin typeface="Garamond" panose="02020404030301010803" pitchFamily="18" charset="0"/>
            </a:endParaRPr>
          </a:p>
          <a:p>
            <a:pPr algn="ctr"/>
            <a:endParaRPr lang="en-US" sz="1400" dirty="0">
              <a:solidFill>
                <a:srgbClr val="862624"/>
              </a:solidFill>
              <a:latin typeface="Garamond" panose="02020404030301010803" pitchFamily="18" charset="0"/>
            </a:endParaRPr>
          </a:p>
          <a:p>
            <a:pPr algn="ctr"/>
            <a:endParaRPr lang="en-US" sz="1400" dirty="0">
              <a:solidFill>
                <a:srgbClr val="862624"/>
              </a:solidFill>
              <a:latin typeface="Garamond" panose="02020404030301010803" pitchFamily="18" charset="0"/>
            </a:endParaRPr>
          </a:p>
        </p:txBody>
      </p:sp>
      <p:sp>
        <p:nvSpPr>
          <p:cNvPr id="11" name="Rectangle 10"/>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Green Venture Tanzania</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Green Venture recycles plastic waste into cost-effective building products such as paving blocks. The venture also helps people build houses using their cost-effective materials whilst also promoting environmental sustainability.</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Tanzania</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121</a:t>
            </a:r>
          </a:p>
        </p:txBody>
      </p:sp>
      <p:sp>
        <p:nvSpPr>
          <p:cNvPr id="12" name="Rectangular Callout 11"/>
          <p:cNvSpPr/>
          <p:nvPr/>
        </p:nvSpPr>
        <p:spPr>
          <a:xfrm>
            <a:off x="1049480" y="4698125"/>
            <a:ext cx="3217718"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Edgar Edmund</a:t>
            </a: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9"/>
              </a:rPr>
              <a:t>http://www.greenventuretz.com</a:t>
            </a:r>
            <a:r>
              <a:rPr lang="en-ZA" sz="1400" dirty="0">
                <a:solidFill>
                  <a:schemeClr val="tx1"/>
                </a:solidFill>
                <a:latin typeface="Garamond" panose="02020404030301010803" pitchFamily="18" charset="0"/>
              </a:rPr>
              <a:t> </a:t>
            </a:r>
            <a:endParaRPr lang="en-ZA" sz="1400" b="1"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u="sng" dirty="0">
                <a:latin typeface="Garamond" panose="02020404030301010803" pitchFamily="18" charset="0"/>
                <a:hlinkClick r:id="rId10"/>
              </a:rPr>
              <a:t>edgaredmund424@gmail.com</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5 744 404 987</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8608669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posing for the camera&#10;&#10;Description generated with very high confidence">
            <a:extLst>
              <a:ext uri="{FF2B5EF4-FFF2-40B4-BE49-F238E27FC236}">
                <a16:creationId xmlns:a16="http://schemas.microsoft.com/office/drawing/2014/main" xmlns="" id="{F20EB35E-2DEF-4979-9419-0D71618F7514}"/>
              </a:ext>
            </a:extLst>
          </p:cNvPr>
          <p:cNvPicPr preferRelativeResize="0">
            <a:picLocks/>
          </p:cNvPicPr>
          <p:nvPr/>
        </p:nvPicPr>
        <p:blipFill rotWithShape="1">
          <a:blip r:embed="rId6">
            <a:extLst>
              <a:ext uri="{28A0092B-C50C-407E-A947-70E740481C1C}">
                <a14:useLocalDpi xmlns:a14="http://schemas.microsoft.com/office/drawing/2010/main" val="0"/>
              </a:ext>
            </a:extLst>
          </a:blip>
          <a:srcRect l="4485" t="3534" r="3061" b="8047"/>
          <a:stretch/>
        </p:blipFill>
        <p:spPr>
          <a:xfrm>
            <a:off x="1293712" y="1879718"/>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graphicFrame>
        <p:nvGraphicFramePr>
          <p:cNvPr id="3" name="Object 2" hidden="1">
            <a:extLst>
              <a:ext uri="{FF2B5EF4-FFF2-40B4-BE49-F238E27FC236}">
                <a16:creationId xmlns:a16="http://schemas.microsoft.com/office/drawing/2014/main" xmlns="" id="{FD0983D6-2E09-4BB5-8FE1-9744A48CDA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5801" name="think-cell Slide" r:id="rId7" imgW="421" imgH="423" progId="TCLayout.ActiveDocument.1">
                  <p:embed/>
                </p:oleObj>
              </mc:Choice>
              <mc:Fallback>
                <p:oleObj name="think-cell Slide" r:id="rId7" imgW="421" imgH="423" progId="TCLayout.ActiveDocument.1">
                  <p:embed/>
                  <p:pic>
                    <p:nvPicPr>
                      <p:cNvPr id="3" name="Object 2" hidden="1">
                        <a:extLst>
                          <a:ext uri="{FF2B5EF4-FFF2-40B4-BE49-F238E27FC236}">
                            <a16:creationId xmlns:a16="http://schemas.microsoft.com/office/drawing/2014/main" xmlns="" id="{FD0983D6-2E09-4BB5-8FE1-9744A48CDAF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ED1D170-A328-4625-8542-82FF153AEA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8" name="Title 4"/>
          <p:cNvSpPr>
            <a:spLocks noGrp="1"/>
          </p:cNvSpPr>
          <p:nvPr>
            <p:ph type="title"/>
          </p:nvPr>
        </p:nvSpPr>
        <p:spPr>
          <a:xfrm>
            <a:off x="1007442" y="479528"/>
            <a:ext cx="10536857" cy="609600"/>
          </a:xfrm>
        </p:spPr>
        <p:txBody>
          <a:bodyPr anchor="t">
            <a:noAutofit/>
          </a:bodyPr>
          <a:lstStyle/>
          <a:p>
            <a:r>
              <a:rPr lang="en-ZA" sz="2400" b="1" dirty="0">
                <a:latin typeface="Garamond"/>
              </a:rPr>
              <a:t>Ludwick </a:t>
            </a:r>
            <a:r>
              <a:rPr lang="en-ZA" sz="2400" b="1" dirty="0" err="1">
                <a:latin typeface="Garamond"/>
              </a:rPr>
              <a:t>Marishane</a:t>
            </a:r>
            <a:r>
              <a:rPr lang="en-ZA" sz="2400" b="1" dirty="0">
                <a:latin typeface="Garamond"/>
              </a:rPr>
              <a:t> </a:t>
            </a:r>
            <a:r>
              <a:rPr lang="en-ZA" sz="2400" b="1" dirty="0">
                <a:solidFill>
                  <a:srgbClr val="862624"/>
                </a:solidFill>
                <a:latin typeface="Garamond"/>
              </a:rPr>
              <a:t>– </a:t>
            </a:r>
            <a:r>
              <a:rPr lang="en-ZA" sz="2400" b="1" dirty="0" err="1">
                <a:solidFill>
                  <a:srgbClr val="862624"/>
                </a:solidFill>
                <a:latin typeface="Garamond"/>
              </a:rPr>
              <a:t>DryBath</a:t>
            </a:r>
            <a:r>
              <a:rPr lang="en-ZA" sz="2400" b="1" dirty="0">
                <a:solidFill>
                  <a:srgbClr val="862624"/>
                </a:solidFill>
                <a:latin typeface="Garamond"/>
              </a:rPr>
              <a:t> (Pty) Ltd: Waterless body wash gel</a:t>
            </a:r>
            <a:endParaRPr lang="en-US" sz="2400" dirty="0"/>
          </a:p>
        </p:txBody>
      </p:sp>
      <p:sp>
        <p:nvSpPr>
          <p:cNvPr id="10" name="Rectangle 9"/>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862624"/>
              </a:solidFill>
              <a:latin typeface="Garamond"/>
            </a:endParaRPr>
          </a:p>
          <a:p>
            <a:pPr algn="ctr"/>
            <a:endParaRPr lang="en-US" sz="1600" b="1" dirty="0">
              <a:solidFill>
                <a:srgbClr val="862624"/>
              </a:solidFill>
              <a:latin typeface="Garamond"/>
            </a:endParaRPr>
          </a:p>
          <a:p>
            <a:pPr algn="ctr"/>
            <a:r>
              <a:rPr lang="en-US" sz="1600" b="1" dirty="0">
                <a:solidFill>
                  <a:srgbClr val="862624"/>
                </a:solidFill>
                <a:latin typeface="Garamond"/>
              </a:rPr>
              <a:t>ABOUT LUDWICK</a:t>
            </a:r>
          </a:p>
          <a:p>
            <a:pPr algn="ctr"/>
            <a:r>
              <a:rPr lang="en-US" sz="1400" dirty="0">
                <a:solidFill>
                  <a:srgbClr val="862624"/>
                </a:solidFill>
                <a:latin typeface="Garamond"/>
              </a:rPr>
              <a:t>Ludwick invented a waterless bathing lotion, </a:t>
            </a:r>
            <a:r>
              <a:rPr lang="en-US" sz="1400" dirty="0" err="1">
                <a:solidFill>
                  <a:srgbClr val="862624"/>
                </a:solidFill>
                <a:latin typeface="Garamond"/>
              </a:rPr>
              <a:t>DryBath</a:t>
            </a:r>
            <a:r>
              <a:rPr lang="en-US" sz="1400" dirty="0">
                <a:solidFill>
                  <a:srgbClr val="862624"/>
                </a:solidFill>
                <a:latin typeface="Garamond"/>
              </a:rPr>
              <a:t>®. </a:t>
            </a:r>
            <a:r>
              <a:rPr lang="en-US" sz="1400" dirty="0" err="1">
                <a:solidFill>
                  <a:srgbClr val="862624"/>
                </a:solidFill>
                <a:latin typeface="Garamond"/>
              </a:rPr>
              <a:t>Ludwick</a:t>
            </a:r>
            <a:r>
              <a:rPr lang="en-US" sz="1400" dirty="0">
                <a:solidFill>
                  <a:srgbClr val="862624"/>
                </a:solidFill>
                <a:latin typeface="Garamond"/>
              </a:rPr>
              <a:t> is a TED Speaker and was named the 2011 Global Student Entrepreneur of the Year Award (the first South African to achieve this award). He has also been recognized by TIME Magazine as “30 People under 30 Changing the World” and by Forbes as a “30 under 30 African Entrepreneurs” in 2013.</a:t>
            </a:r>
          </a:p>
          <a:p>
            <a:pPr algn="ctr"/>
            <a:endParaRPr lang="en-US" sz="1400" dirty="0">
              <a:solidFill>
                <a:srgbClr val="862624"/>
              </a:solidFill>
              <a:latin typeface="Garamond"/>
            </a:endParaRPr>
          </a:p>
          <a:p>
            <a:pPr algn="ctr"/>
            <a:endParaRPr lang="en-US" sz="1400" dirty="0">
              <a:solidFill>
                <a:srgbClr val="862624"/>
              </a:solidFill>
              <a:latin typeface="Garamond"/>
            </a:endParaRPr>
          </a:p>
          <a:p>
            <a:pPr algn="ctr"/>
            <a:endParaRPr lang="en-US" dirty="0"/>
          </a:p>
        </p:txBody>
      </p:sp>
      <p:sp>
        <p:nvSpPr>
          <p:cNvPr id="11" name="Rectangle 10"/>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b="1" dirty="0">
                <a:solidFill>
                  <a:schemeClr val="tx1"/>
                </a:solidFill>
                <a:latin typeface="Garamond"/>
              </a:rPr>
              <a:t>NAME OF BUSINESS:</a:t>
            </a:r>
            <a:r>
              <a:rPr lang="en-US" dirty="0">
                <a:solidFill>
                  <a:schemeClr val="tx1"/>
                </a:solidFill>
                <a:latin typeface="Garamond"/>
              </a:rPr>
              <a:t> </a:t>
            </a:r>
            <a:r>
              <a:rPr lang="en-US" dirty="0" err="1">
                <a:solidFill>
                  <a:schemeClr val="tx1"/>
                </a:solidFill>
                <a:latin typeface="Garamond"/>
              </a:rPr>
              <a:t>DryBath</a:t>
            </a:r>
            <a:r>
              <a:rPr lang="en-US" dirty="0">
                <a:solidFill>
                  <a:schemeClr val="tx1"/>
                </a:solidFill>
                <a:latin typeface="Garamond"/>
              </a:rPr>
              <a:t> (Pty) Ltd</a:t>
            </a:r>
            <a:endParaRPr lang="en-US" b="1" dirty="0">
              <a:solidFill>
                <a:schemeClr val="tx1"/>
              </a:solidFill>
              <a:latin typeface="Garamond"/>
            </a:endParaRPr>
          </a:p>
          <a:p>
            <a:r>
              <a:rPr lang="en-US" b="1" dirty="0">
                <a:solidFill>
                  <a:schemeClr val="tx1"/>
                </a:solidFill>
                <a:latin typeface="Garamond"/>
              </a:rPr>
              <a:t>BUSINESS ACTIVITIES: </a:t>
            </a:r>
            <a:r>
              <a:rPr lang="en-US" dirty="0" err="1">
                <a:solidFill>
                  <a:schemeClr val="tx1"/>
                </a:solidFill>
                <a:latin typeface="Garamond"/>
              </a:rPr>
              <a:t>DryBath</a:t>
            </a:r>
            <a:r>
              <a:rPr lang="en-US" dirty="0">
                <a:solidFill>
                  <a:schemeClr val="tx1"/>
                </a:solidFill>
                <a:latin typeface="Garamond"/>
              </a:rPr>
              <a:t>® Gel is an innovative, waterless body wash gel that cleans your body by using the skin-rubbing motion of your hands to gently remove dead skin cells and your full-body odor. </a:t>
            </a:r>
            <a:r>
              <a:rPr lang="en-US" dirty="0" err="1">
                <a:solidFill>
                  <a:schemeClr val="tx1"/>
                </a:solidFill>
                <a:latin typeface="Garamond"/>
              </a:rPr>
              <a:t>DryBath</a:t>
            </a:r>
            <a:r>
              <a:rPr lang="en-US" dirty="0">
                <a:solidFill>
                  <a:schemeClr val="tx1"/>
                </a:solidFill>
                <a:latin typeface="Garamond"/>
              </a:rPr>
              <a:t>® Gel is manufactured in South Africa and has been dermatologically tested for safe use on sensitive skin areas and for children aged 3+ years.. </a:t>
            </a:r>
          </a:p>
          <a:p>
            <a:r>
              <a:rPr lang="en-US" b="1" dirty="0">
                <a:solidFill>
                  <a:schemeClr val="tx1"/>
                </a:solidFill>
                <a:latin typeface="Garamond"/>
              </a:rPr>
              <a:t>BUSINESS LOCATION: </a:t>
            </a:r>
            <a:r>
              <a:rPr lang="en-US" dirty="0">
                <a:solidFill>
                  <a:schemeClr val="tx1"/>
                </a:solidFill>
                <a:latin typeface="Garamond"/>
              </a:rPr>
              <a:t>South Africa</a:t>
            </a:r>
            <a:endParaRPr lang="en-US" dirty="0">
              <a:solidFill>
                <a:schemeClr val="tx1"/>
              </a:solidFill>
              <a:latin typeface="Garamond" panose="02020404030301010803" pitchFamily="18" charset="0"/>
            </a:endParaRPr>
          </a:p>
          <a:p>
            <a:r>
              <a:rPr lang="en-US" b="1" dirty="0">
                <a:solidFill>
                  <a:schemeClr val="tx1"/>
                </a:solidFill>
                <a:latin typeface="Garamond"/>
              </a:rPr>
              <a:t>JOBS CREATED (Full &amp; Part Time):</a:t>
            </a:r>
            <a:r>
              <a:rPr lang="en-US" dirty="0">
                <a:solidFill>
                  <a:schemeClr val="tx1"/>
                </a:solidFill>
                <a:latin typeface="Garamond"/>
              </a:rPr>
              <a:t> 3</a:t>
            </a:r>
            <a:endParaRPr lang="en-US" dirty="0">
              <a:solidFill>
                <a:schemeClr val="tx1"/>
              </a:solidFill>
              <a:latin typeface="Garamond" panose="02020404030301010803" pitchFamily="18" charset="0"/>
            </a:endParaRPr>
          </a:p>
        </p:txBody>
      </p:sp>
      <p:sp>
        <p:nvSpPr>
          <p:cNvPr id="12" name="Rectangular Callout 11"/>
          <p:cNvSpPr/>
          <p:nvPr/>
        </p:nvSpPr>
        <p:spPr>
          <a:xfrm>
            <a:off x="1049480" y="4698125"/>
            <a:ext cx="3217718"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a:t>
            </a:r>
            <a:r>
              <a:rPr lang="en-ZA" sz="1400" dirty="0">
                <a:solidFill>
                  <a:schemeClr val="tx1"/>
                </a:solidFill>
                <a:latin typeface="Garamond"/>
              </a:rPr>
              <a:t> Ludwick </a:t>
            </a:r>
            <a:r>
              <a:rPr lang="en-ZA" sz="1400" dirty="0" err="1">
                <a:solidFill>
                  <a:schemeClr val="tx1"/>
                </a:solidFill>
                <a:latin typeface="Garamond"/>
              </a:rPr>
              <a:t>Marishane</a:t>
            </a:r>
            <a:endParaRPr lang="en-ZA" sz="1400" dirty="0" err="1">
              <a:solidFill>
                <a:schemeClr val="tx1"/>
              </a:solidFill>
              <a:latin typeface="Garamond" panose="02020404030301010803" pitchFamily="18" charset="0"/>
            </a:endParaRPr>
          </a:p>
          <a:p>
            <a:r>
              <a:rPr lang="en-US" sz="1400" b="1" dirty="0">
                <a:solidFill>
                  <a:schemeClr val="tx1"/>
                </a:solidFill>
                <a:latin typeface="Garamond"/>
              </a:rPr>
              <a:t>Website: </a:t>
            </a:r>
            <a:r>
              <a:rPr lang="en-US" sz="1400" dirty="0">
                <a:solidFill>
                  <a:schemeClr val="tx1"/>
                </a:solidFill>
                <a:latin typeface="Garamond"/>
                <a:hlinkClick r:id="rId9">
                  <a:extLst>
                    <a:ext uri="{A12FA001-AC4F-418D-AE19-62706E023703}">
                      <ahyp:hlinkClr xmlns="" xmlns:ahyp="http://schemas.microsoft.com/office/drawing/2018/hyperlinkcolor" val="tx"/>
                    </a:ext>
                  </a:extLst>
                </a:hlinkClick>
              </a:rPr>
              <a:t>www.drybathgel.com</a:t>
            </a:r>
            <a:r>
              <a:rPr lang="en-US"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a:rPr>
              <a:t>Email: </a:t>
            </a:r>
            <a:r>
              <a:rPr lang="en-ZA" sz="1400" dirty="0">
                <a:solidFill>
                  <a:schemeClr val="tx1"/>
                </a:solidFill>
                <a:latin typeface="Garamond"/>
                <a:hlinkClick r:id="rId10">
                  <a:extLst>
                    <a:ext uri="{A12FA001-AC4F-418D-AE19-62706E023703}">
                      <ahyp:hlinkClr xmlns="" xmlns:ahyp="http://schemas.microsoft.com/office/drawing/2018/hyperlinkcolor" val="tx"/>
                    </a:ext>
                  </a:extLst>
                </a:hlinkClick>
              </a:rPr>
              <a:t>Ludwickm@drybathgel.com</a:t>
            </a:r>
            <a:r>
              <a:rPr lang="en-ZA" sz="1400" dirty="0">
                <a:solidFill>
                  <a:schemeClr val="tx1"/>
                </a:solidFill>
                <a:latin typeface="Garamond"/>
                <a:hlinkClick r:id="rId10"/>
              </a:rPr>
              <a:t> </a:t>
            </a:r>
            <a:endParaRPr lang="en-GB" sz="1400" dirty="0">
              <a:solidFill>
                <a:schemeClr val="tx1"/>
              </a:solidFill>
              <a:latin typeface="Garamond"/>
            </a:endParaRPr>
          </a:p>
          <a:p>
            <a:r>
              <a:rPr lang="en-ZA" sz="1400" b="1" dirty="0">
                <a:solidFill>
                  <a:schemeClr val="tx1"/>
                </a:solidFill>
                <a:latin typeface="Garamond"/>
              </a:rPr>
              <a:t>WhatsApp: </a:t>
            </a:r>
            <a:r>
              <a:rPr lang="en-ZA" sz="1400" dirty="0">
                <a:solidFill>
                  <a:schemeClr val="tx1"/>
                </a:solidFill>
                <a:latin typeface="Garamond"/>
              </a:rPr>
              <a:t>+27 78 635 5818</a:t>
            </a:r>
            <a:endParaRPr lang="en-GB" sz="1400" dirty="0">
              <a:solidFill>
                <a:schemeClr val="tx1"/>
              </a:solidFill>
              <a:latin typeface="Garamond"/>
            </a:endParaRPr>
          </a:p>
        </p:txBody>
      </p:sp>
      <p:sp>
        <p:nvSpPr>
          <p:cNvPr id="13" name="Rectangle 12">
            <a:extLst>
              <a:ext uri="{FF2B5EF4-FFF2-40B4-BE49-F238E27FC236}">
                <a16:creationId xmlns:a16="http://schemas.microsoft.com/office/drawing/2014/main" xmlns="" id="{8762CBB0-B09A-4AC6-9024-826EF534C05F}"/>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pic>
        <p:nvPicPr>
          <p:cNvPr id="9" name="Picture 8" descr="A person wearing a suit and tie&#10;&#10;Description generated with very high confidence"/>
          <p:cNvPicPr preferRelativeResize="0">
            <a:picLocks/>
          </p:cNvPicPr>
          <p:nvPr/>
        </p:nvPicPr>
        <p:blipFill rotWithShape="1">
          <a:blip r:embed="rId11"/>
          <a:srcRect l="4485" t="3534" r="3061" b="8047"/>
          <a:stretch/>
        </p:blipFill>
        <p:spPr>
          <a:xfrm>
            <a:off x="1371065" y="1879719"/>
            <a:ext cx="2574543"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596171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CFC804E5-9F85-41F8-AA5D-30E6897FC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849"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CFC804E5-9F85-41F8-AA5D-30E6897FC5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7CE8E5E3-D90D-4022-81B6-F946C1639FE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7DFB6C30-79C3-4E33-BE72-363D52CE6DA3}"/>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800" b="1" dirty="0">
                <a:solidFill>
                  <a:srgbClr val="862624"/>
                </a:solidFill>
                <a:latin typeface="Garamond"/>
              </a:rPr>
              <a:t>Alain </a:t>
            </a:r>
            <a:r>
              <a:rPr lang="en-ZA" sz="2800" b="1" dirty="0" err="1">
                <a:solidFill>
                  <a:srgbClr val="862624"/>
                </a:solidFill>
                <a:latin typeface="Garamond"/>
              </a:rPr>
              <a:t>Nteff</a:t>
            </a:r>
            <a:r>
              <a:rPr lang="en-ZA" sz="2800" b="1" dirty="0">
                <a:solidFill>
                  <a:srgbClr val="862624"/>
                </a:solidFill>
                <a:latin typeface="Garamond"/>
              </a:rPr>
              <a:t> – </a:t>
            </a:r>
            <a:r>
              <a:rPr lang="en-ZA" sz="2800" b="1" dirty="0" err="1">
                <a:solidFill>
                  <a:srgbClr val="862624"/>
                </a:solidFill>
                <a:latin typeface="Garamond"/>
              </a:rPr>
              <a:t>Healthlane</a:t>
            </a:r>
            <a:r>
              <a:rPr lang="en-ZA" sz="2800" b="1" dirty="0">
                <a:solidFill>
                  <a:srgbClr val="862624"/>
                </a:solidFill>
                <a:latin typeface="Garamond"/>
              </a:rPr>
              <a:t>: Maternal health information platform</a:t>
            </a:r>
            <a:endParaRPr lang="en-US" sz="2800" b="1" dirty="0">
              <a:solidFill>
                <a:srgbClr val="862624"/>
              </a:solidFill>
              <a:latin typeface="Garamond"/>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3824" t="3468" r="3824" b="8053"/>
          <a:stretch/>
        </p:blipFill>
        <p:spPr>
          <a:xfrm>
            <a:off x="1293713"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Garamond" panose="02020404030301010803" pitchFamily="18" charset="0"/>
              </a:rPr>
              <a:t>ABOUT ALAIN</a:t>
            </a:r>
          </a:p>
          <a:p>
            <a:pPr algn="ctr"/>
            <a:r>
              <a:rPr lang="en-US" sz="1400" dirty="0">
                <a:solidFill>
                  <a:schemeClr val="accent1"/>
                </a:solidFill>
                <a:latin typeface="Garamond"/>
              </a:rPr>
              <a:t>Alain is a social entrepreneur who has a background in telecommunications engineering. He is on a mission to create a world free of maternal and infant deaths by using mobile technology to reach pregnant women and mothers who do not have access to quality healthcare services.</a:t>
            </a:r>
          </a:p>
          <a:p>
            <a:pPr algn="ctr"/>
            <a:endParaRPr lang="en-US" sz="1400" dirty="0">
              <a:solidFill>
                <a:schemeClr val="accent1"/>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err="1">
                <a:solidFill>
                  <a:schemeClr val="tx1"/>
                </a:solidFill>
                <a:latin typeface="Garamond"/>
              </a:rPr>
              <a:t>Healthlane</a:t>
            </a:r>
            <a:endParaRPr lang="en-US" dirty="0">
              <a:solidFill>
                <a:schemeClr val="tx1"/>
              </a:solidFill>
              <a:latin typeface="Garamond"/>
            </a:endParaRPr>
          </a:p>
          <a:p>
            <a:pPr lvl="1"/>
            <a:r>
              <a:rPr lang="en-US" b="1" dirty="0">
                <a:solidFill>
                  <a:schemeClr val="tx1"/>
                </a:solidFill>
                <a:latin typeface="Garamond"/>
              </a:rPr>
              <a:t>BUSINESS ACTIVITIES: </a:t>
            </a:r>
            <a:r>
              <a:rPr lang="en-ZA" dirty="0" err="1">
                <a:solidFill>
                  <a:schemeClr val="tx1"/>
                </a:solidFill>
                <a:latin typeface="Garamond"/>
              </a:rPr>
              <a:t>Healthlane</a:t>
            </a:r>
            <a:r>
              <a:rPr lang="en-ZA" dirty="0">
                <a:solidFill>
                  <a:schemeClr val="tx1"/>
                </a:solidFill>
                <a:latin typeface="Garamond"/>
              </a:rPr>
              <a:t> provides health services like access to doctors and health data, amongst other things to customers via a mobile application. Through one of its apps, </a:t>
            </a:r>
            <a:r>
              <a:rPr lang="en-ZA" dirty="0" err="1">
                <a:solidFill>
                  <a:schemeClr val="tx1"/>
                </a:solidFill>
                <a:latin typeface="Garamond"/>
              </a:rPr>
              <a:t>GiftedMom</a:t>
            </a:r>
            <a:r>
              <a:rPr lang="en-ZA" dirty="0">
                <a:solidFill>
                  <a:schemeClr val="tx1"/>
                </a:solidFill>
                <a:latin typeface="Garamond"/>
              </a:rPr>
              <a:t>, </a:t>
            </a:r>
            <a:r>
              <a:rPr lang="en-ZA" dirty="0" err="1">
                <a:solidFill>
                  <a:schemeClr val="tx1"/>
                </a:solidFill>
                <a:latin typeface="Garamond"/>
              </a:rPr>
              <a:t>Healthlane</a:t>
            </a:r>
            <a:r>
              <a:rPr lang="en-ZA" dirty="0">
                <a:solidFill>
                  <a:schemeClr val="tx1"/>
                </a:solidFill>
                <a:latin typeface="Garamond"/>
              </a:rPr>
              <a:t> has impacted over 500K mothers its  across various platform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Cameroon</a:t>
            </a:r>
          </a:p>
          <a:p>
            <a:pPr lvl="1"/>
            <a:r>
              <a:rPr lang="en-US" b="1" dirty="0">
                <a:solidFill>
                  <a:schemeClr val="tx1"/>
                </a:solidFill>
                <a:latin typeface="Garamond"/>
              </a:rPr>
              <a:t>JOBS CREATED (Full &amp; Part Time): </a:t>
            </a:r>
            <a:r>
              <a:rPr lang="en-US" dirty="0">
                <a:solidFill>
                  <a:schemeClr val="tx1"/>
                </a:solidFill>
                <a:latin typeface="Garamond"/>
              </a:rPr>
              <a:t>20</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Alain </a:t>
            </a:r>
            <a:r>
              <a:rPr lang="en-ZA" sz="1400" dirty="0" err="1">
                <a:solidFill>
                  <a:schemeClr val="tx1"/>
                </a:solidFill>
                <a:latin typeface="Garamond" panose="02020404030301010803" pitchFamily="18" charset="0"/>
              </a:rPr>
              <a:t>Nteff</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www.giftedmom.org</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nteffal@gmail.com</a:t>
            </a:r>
            <a:r>
              <a:rPr lang="en-ZA" sz="1400" dirty="0">
                <a:solidFill>
                  <a:schemeClr val="tx1"/>
                </a:solidFill>
                <a:latin typeface="Garamond" panose="02020404030301010803" pitchFamily="18" charset="0"/>
              </a:rPr>
              <a:t> </a:t>
            </a:r>
          </a:p>
          <a:p>
            <a:r>
              <a:rPr lang="en-ZA" sz="1400" b="1" dirty="0">
                <a:solidFill>
                  <a:schemeClr val="tx1"/>
                </a:solidFill>
                <a:latin typeface="Garamond"/>
              </a:rPr>
              <a:t>WhatsApp: </a:t>
            </a:r>
            <a:r>
              <a:rPr lang="en-ZA" sz="1400" dirty="0">
                <a:solidFill>
                  <a:schemeClr val="tx1"/>
                </a:solidFill>
                <a:latin typeface="Garamond"/>
              </a:rPr>
              <a:t>+237 519 742 6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821882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F6D6406-FD7C-4D79-AD7D-573AC9AFC2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3314"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9F6D6406-FD7C-4D79-AD7D-573AC9AFC2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A1414803-E49C-42D8-A91B-ED0DE16C213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2B9001C1-18F1-4BE3-9736-EAC4EFB55332}"/>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800" b="1" dirty="0" err="1">
                <a:solidFill>
                  <a:srgbClr val="862624"/>
                </a:solidFill>
                <a:latin typeface="Garamond"/>
              </a:rPr>
              <a:t>Kisseka</a:t>
            </a:r>
            <a:r>
              <a:rPr lang="en-ZA" sz="2800" b="1" dirty="0">
                <a:solidFill>
                  <a:srgbClr val="862624"/>
                </a:solidFill>
                <a:latin typeface="Garamond"/>
              </a:rPr>
              <a:t> Samson – Hello Mushroom: Oyster mushrooms</a:t>
            </a:r>
            <a:endParaRPr lang="en-US" sz="2800" b="1" dirty="0">
              <a:solidFill>
                <a:srgbClr val="862624"/>
              </a:solidFill>
              <a:latin typeface="Garamond"/>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3724" t="3468" r="3724" b="8053"/>
          <a:stretch/>
        </p:blipFill>
        <p:spPr>
          <a:xfrm>
            <a:off x="1293711" y="1879720"/>
            <a:ext cx="2729251"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KISSEKA</a:t>
            </a:r>
          </a:p>
          <a:p>
            <a:pPr algn="ctr"/>
            <a:r>
              <a:rPr lang="en-US" sz="1400" dirty="0" err="1">
                <a:solidFill>
                  <a:schemeClr val="accent1"/>
                </a:solidFill>
                <a:latin typeface="Garamond"/>
              </a:rPr>
              <a:t>Kisseka</a:t>
            </a:r>
            <a:r>
              <a:rPr lang="en-US" sz="1400" dirty="0">
                <a:solidFill>
                  <a:schemeClr val="accent1"/>
                </a:solidFill>
                <a:latin typeface="Garamond"/>
              </a:rPr>
              <a:t> holds a diploma in Agriculture. Upon completing his diploma, </a:t>
            </a:r>
            <a:r>
              <a:rPr lang="en-US" sz="1400" dirty="0" err="1">
                <a:solidFill>
                  <a:schemeClr val="accent1"/>
                </a:solidFill>
                <a:latin typeface="Garamond"/>
              </a:rPr>
              <a:t>Kisseka</a:t>
            </a:r>
            <a:r>
              <a:rPr lang="en-US" sz="1400" dirty="0">
                <a:solidFill>
                  <a:schemeClr val="accent1"/>
                </a:solidFill>
                <a:latin typeface="Garamond"/>
              </a:rPr>
              <a:t> started exploring business opportunities and discovered mushroom farming was a lucrative yet an underserved area of farming.</a:t>
            </a:r>
          </a:p>
          <a:p>
            <a:pPr algn="ctr"/>
            <a:endParaRPr lang="en-US" sz="1600" dirty="0">
              <a:solidFill>
                <a:schemeClr val="accent1"/>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Hello Mushroom</a:t>
            </a:r>
          </a:p>
          <a:p>
            <a:pPr lvl="1"/>
            <a:r>
              <a:rPr lang="en-US" b="1" dirty="0">
                <a:solidFill>
                  <a:schemeClr val="tx1"/>
                </a:solidFill>
                <a:latin typeface="Garamond"/>
              </a:rPr>
              <a:t>BUSINESS ACTIVITIES: </a:t>
            </a:r>
            <a:r>
              <a:rPr lang="en-US" dirty="0">
                <a:solidFill>
                  <a:schemeClr val="tx1"/>
                </a:solidFill>
                <a:latin typeface="Garamond"/>
              </a:rPr>
              <a:t>Hello Mushroom is a co-operative that collaborates with farmers to grow and sell mushrooms. They supply inputs to growers, offer free training, and provide buy-back facilities in exchange for commission.</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a:rPr>
              <a:t>JOBS CREATED (Full &amp; Part Time): </a:t>
            </a:r>
            <a:r>
              <a:rPr lang="en-US" dirty="0">
                <a:solidFill>
                  <a:schemeClr val="tx1"/>
                </a:solidFill>
                <a:latin typeface="Garamond"/>
              </a:rPr>
              <a:t>6</a:t>
            </a:r>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Kisseka</a:t>
            </a:r>
            <a:r>
              <a:rPr lang="en-ZA" sz="1400" dirty="0">
                <a:solidFill>
                  <a:schemeClr val="tx1"/>
                </a:solidFill>
                <a:latin typeface="Garamond" panose="02020404030301010803" pitchFamily="18" charset="0"/>
              </a:rPr>
              <a:t> Samson</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hellomushrooms.org</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kislop@ymail.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56 700 792 168</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231793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D189DD1B-D0BC-43EB-9CCC-EA7A99D147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1267"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D189DD1B-D0BC-43EB-9CCC-EA7A99D147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96ED73E-8818-421E-96CA-DCDA35C79F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A605A003-3AC6-4673-81C7-ADDC179989D1}"/>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600" b="1" dirty="0">
                <a:solidFill>
                  <a:srgbClr val="862624"/>
                </a:solidFill>
              </a:rPr>
              <a:t>Marvellous Nyongoro – Housing Hub:</a:t>
            </a:r>
            <a:r>
              <a:rPr lang="en-US" sz="2600" b="1" dirty="0">
                <a:solidFill>
                  <a:srgbClr val="862624"/>
                </a:solidFill>
              </a:rPr>
              <a:t> Off-campus accommodation</a:t>
            </a: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7733" t="5656" r="9694" b="5927"/>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MARVELLOUS</a:t>
            </a:r>
          </a:p>
          <a:p>
            <a:pPr algn="ctr"/>
            <a:r>
              <a:rPr lang="en-US" sz="1400" dirty="0" err="1">
                <a:solidFill>
                  <a:schemeClr val="accent1"/>
                </a:solidFill>
                <a:latin typeface="Garamond"/>
              </a:rPr>
              <a:t>Marvellous</a:t>
            </a:r>
            <a:r>
              <a:rPr lang="en-US" sz="1400" dirty="0">
                <a:solidFill>
                  <a:schemeClr val="accent1"/>
                </a:solidFill>
                <a:latin typeface="Garamond"/>
              </a:rPr>
              <a:t> is a final year Bachelor of Commerce student, majoring in Accounting at Midlands State University.  Following </a:t>
            </a:r>
            <a:r>
              <a:rPr lang="en-US" sz="1400" dirty="0" err="1">
                <a:solidFill>
                  <a:schemeClr val="accent1"/>
                </a:solidFill>
                <a:latin typeface="Garamond"/>
              </a:rPr>
              <a:t>Marvellous</a:t>
            </a:r>
            <a:r>
              <a:rPr lang="en-US" sz="1400" dirty="0">
                <a:solidFill>
                  <a:schemeClr val="accent1"/>
                </a:solidFill>
                <a:latin typeface="Garamond"/>
              </a:rPr>
              <a:t>' frustration with the lack of off-campus student accommodation available to him and other students at his university, he decided to start the Housing Hub so that he could solve for the lack of available off-campus accommodation. </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Housing Hub</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The Housing Hub is a premier online service provision platform that enables tertiary students in Zimbabwe to book and make payments for off-campus accommodation using a smartphone or computer.</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Zimbabwe</a:t>
            </a:r>
          </a:p>
          <a:p>
            <a:pPr lvl="1"/>
            <a:r>
              <a:rPr lang="en-US" b="1" dirty="0">
                <a:solidFill>
                  <a:schemeClr val="tx1"/>
                </a:solidFill>
                <a:latin typeface="Garamond"/>
              </a:rPr>
              <a:t>JOBS CREATED (Full &amp; Part Time): </a:t>
            </a:r>
            <a:r>
              <a:rPr lang="en-US" dirty="0">
                <a:solidFill>
                  <a:schemeClr val="tx1"/>
                </a:solidFill>
                <a:latin typeface="Garamond"/>
              </a:rPr>
              <a:t>52</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Marvellous Nyongoro</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thehousinghub.co.zw</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marvellousnyongoro@gmail.com</a:t>
            </a:r>
            <a:endParaRPr lang="en-ZA" sz="1400" dirty="0">
              <a:solidFill>
                <a:schemeClr val="tx1"/>
              </a:solidFill>
              <a:latin typeface="Garamond" panose="02020404030301010803" pitchFamily="18" charset="0"/>
            </a:endParaRPr>
          </a:p>
          <a:p>
            <a:r>
              <a:rPr lang="en-ZA" sz="1400" dirty="0">
                <a:solidFill>
                  <a:schemeClr val="tx1"/>
                </a:solidFill>
                <a:latin typeface="Garamond"/>
              </a:rPr>
              <a:t> </a:t>
            </a:r>
            <a:r>
              <a:rPr lang="en-ZA" sz="1400" b="1" dirty="0">
                <a:solidFill>
                  <a:schemeClr val="tx1"/>
                </a:solidFill>
                <a:latin typeface="Garamond"/>
              </a:rPr>
              <a:t>WhatsApp: </a:t>
            </a:r>
            <a:r>
              <a:rPr lang="en-ZA" sz="1400" dirty="0">
                <a:solidFill>
                  <a:schemeClr val="tx1"/>
                </a:solidFill>
                <a:latin typeface="Garamond"/>
              </a:rPr>
              <a:t>+263 771 103 511</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8800601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8E337B74-F293-4FF4-A8FC-38724026B0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9253"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8E337B74-F293-4FF4-A8FC-38724026B0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05C9239F-D1E9-48C3-BE0F-CEF449F25B9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41443E64-FAD5-4A26-8CAA-2173FD6BA950}"/>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800" b="1" dirty="0">
                <a:solidFill>
                  <a:srgbClr val="862624"/>
                </a:solidFill>
                <a:latin typeface="Garamond"/>
              </a:rPr>
              <a:t>Balbina </a:t>
            </a:r>
            <a:r>
              <a:rPr lang="en-ZA" sz="2800" b="1" dirty="0" err="1">
                <a:solidFill>
                  <a:srgbClr val="862624"/>
                </a:solidFill>
                <a:latin typeface="Garamond"/>
              </a:rPr>
              <a:t>Gulam</a:t>
            </a:r>
            <a:r>
              <a:rPr lang="en-ZA" sz="2800" b="1" dirty="0">
                <a:solidFill>
                  <a:srgbClr val="862624"/>
                </a:solidFill>
                <a:latin typeface="Garamond"/>
              </a:rPr>
              <a:t> – </a:t>
            </a:r>
            <a:r>
              <a:rPr lang="en-ZA" sz="2800" b="1" dirty="0" err="1">
                <a:solidFill>
                  <a:srgbClr val="862624"/>
                </a:solidFill>
                <a:latin typeface="Garamond"/>
              </a:rPr>
              <a:t>Huduma</a:t>
            </a:r>
            <a:r>
              <a:rPr lang="en-ZA" sz="2800" b="1" dirty="0">
                <a:solidFill>
                  <a:srgbClr val="862624"/>
                </a:solidFill>
                <a:latin typeface="Garamond"/>
              </a:rPr>
              <a:t> Smart: Domestic worker services</a:t>
            </a:r>
            <a:endParaRPr lang="en-US" sz="2800" b="1" dirty="0">
              <a:solidFill>
                <a:srgbClr val="862624"/>
              </a:solidFill>
              <a:latin typeface="Garamond"/>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3076" t="9759" r="19641" b="5712"/>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BALBINA</a:t>
            </a:r>
          </a:p>
          <a:p>
            <a:pPr algn="ctr"/>
            <a:r>
              <a:rPr lang="en-US" sz="1400" dirty="0">
                <a:solidFill>
                  <a:srgbClr val="862624"/>
                </a:solidFill>
                <a:latin typeface="Garamond"/>
              </a:rPr>
              <a:t>Balbina is the founder of </a:t>
            </a:r>
            <a:r>
              <a:rPr lang="en-US" sz="1400" dirty="0" err="1">
                <a:solidFill>
                  <a:srgbClr val="862624"/>
                </a:solidFill>
                <a:latin typeface="Garamond"/>
              </a:rPr>
              <a:t>Huduma</a:t>
            </a:r>
            <a:r>
              <a:rPr lang="en-US" sz="1400" dirty="0">
                <a:solidFill>
                  <a:srgbClr val="862624"/>
                </a:solidFill>
                <a:latin typeface="Garamond"/>
              </a:rPr>
              <a:t> Smart. She is an advocate for equality and is passionate about fair pay, healthy working conditions, and making sure that women are treated with dignity. Balbina has grown to become a proud tech-champion and an inspiring icon to women in her community. </a:t>
            </a:r>
            <a:endParaRPr lang="en-US" sz="1400" dirty="0">
              <a:solidFill>
                <a:srgbClr val="862624"/>
              </a:solidFill>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Huduma</a:t>
            </a:r>
            <a:r>
              <a:rPr lang="en-US" dirty="0">
                <a:solidFill>
                  <a:schemeClr val="tx1"/>
                </a:solidFill>
                <a:latin typeface="Garamond" panose="02020404030301010803" pitchFamily="18" charset="0"/>
              </a:rPr>
              <a:t> Smart</a:t>
            </a: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Huduma</a:t>
            </a:r>
            <a:r>
              <a:rPr lang="en-US" dirty="0">
                <a:solidFill>
                  <a:schemeClr val="tx1"/>
                </a:solidFill>
                <a:latin typeface="Garamond" panose="02020404030301010803" pitchFamily="18" charset="0"/>
              </a:rPr>
              <a:t> Smart is an enterprise that trains domestic workers and provides a job market for them via their website. </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Tanzania</a:t>
            </a:r>
          </a:p>
          <a:p>
            <a:pPr lvl="1"/>
            <a:r>
              <a:rPr lang="en-US" b="1" dirty="0">
                <a:solidFill>
                  <a:schemeClr val="tx1"/>
                </a:solidFill>
                <a:latin typeface="Garamond"/>
              </a:rPr>
              <a:t>JOBS CREATED (Full &amp; Part Time): </a:t>
            </a:r>
            <a:r>
              <a:rPr lang="en-US" dirty="0">
                <a:solidFill>
                  <a:schemeClr val="tx1"/>
                </a:solidFill>
                <a:latin typeface="Garamond"/>
              </a:rPr>
              <a:t>107</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Balbina </a:t>
            </a:r>
            <a:r>
              <a:rPr lang="en-ZA" sz="1400" dirty="0" err="1">
                <a:solidFill>
                  <a:schemeClr val="tx1"/>
                </a:solidFill>
                <a:latin typeface="Garamond"/>
              </a:rPr>
              <a:t>Gulama</a:t>
            </a:r>
            <a:endParaRPr lang="en-ZA" sz="1400" dirty="0">
              <a:solidFill>
                <a:schemeClr val="tx1"/>
              </a:solidFill>
              <a:latin typeface="Garamond"/>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hudumasmart.co.tz/</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balbinagullam@gmail.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55 657 336 601</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575362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353FB3FB-FF26-4C46-BAFA-29B2048F7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3336"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xmlns="" id="{353FB3FB-FF26-4C46-BAFA-29B2048F7F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BC7365D8-135C-4BBC-A311-27A6F31E7E6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F7E971B4-D135-459B-8A85-3D40D244E5EA}"/>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536857" cy="609600"/>
          </a:xfrm>
        </p:spPr>
        <p:txBody>
          <a:bodyPr>
            <a:noAutofit/>
          </a:bodyPr>
          <a:lstStyle/>
          <a:p>
            <a:r>
              <a:rPr lang="en-ZA" sz="2800" b="1" dirty="0" err="1">
                <a:solidFill>
                  <a:srgbClr val="862624"/>
                </a:solidFill>
              </a:rPr>
              <a:t>Fadwa</a:t>
            </a:r>
            <a:r>
              <a:rPr lang="en-ZA" sz="2800" b="1" dirty="0">
                <a:solidFill>
                  <a:srgbClr val="862624"/>
                </a:solidFill>
              </a:rPr>
              <a:t> </a:t>
            </a:r>
            <a:r>
              <a:rPr lang="en-ZA" sz="2800" b="1" dirty="0" err="1">
                <a:solidFill>
                  <a:srgbClr val="862624"/>
                </a:solidFill>
              </a:rPr>
              <a:t>Moussaif</a:t>
            </a:r>
            <a:r>
              <a:rPr lang="en-ZA" sz="2800" b="1" dirty="0">
                <a:solidFill>
                  <a:srgbClr val="862624"/>
                </a:solidFill>
              </a:rPr>
              <a:t> – IDYR: </a:t>
            </a:r>
            <a:r>
              <a:rPr lang="en-US" sz="2800" b="1" dirty="0">
                <a:solidFill>
                  <a:srgbClr val="862624"/>
                </a:solidFill>
              </a:rPr>
              <a:t>F</a:t>
            </a:r>
            <a:r>
              <a:rPr lang="en-US" sz="2800" b="1">
                <a:solidFill>
                  <a:srgbClr val="862624"/>
                </a:solidFill>
              </a:rPr>
              <a:t>ashion </a:t>
            </a:r>
            <a:r>
              <a:rPr lang="en-US" sz="2800" b="1" dirty="0">
                <a:solidFill>
                  <a:srgbClr val="862624"/>
                </a:solidFill>
              </a:rPr>
              <a:t>accessories business</a:t>
            </a:r>
          </a:p>
        </p:txBody>
      </p:sp>
      <p:pic>
        <p:nvPicPr>
          <p:cNvPr id="2" name="Picture 1"/>
          <p:cNvPicPr>
            <a:picLocks noChangeAspect="1"/>
          </p:cNvPicPr>
          <p:nvPr/>
        </p:nvPicPr>
        <p:blipFill rotWithShape="1">
          <a:blip r:embed="rId8">
            <a:extLst>
              <a:ext uri="{28A0092B-C50C-407E-A947-70E740481C1C}">
                <a14:useLocalDpi xmlns:a14="http://schemas.microsoft.com/office/drawing/2010/main" val="0"/>
              </a:ext>
            </a:extLst>
          </a:blip>
          <a:srcRect l="7784" t="6210" r="5237" b="23188"/>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FADWA</a:t>
            </a:r>
          </a:p>
          <a:p>
            <a:pPr algn="ctr"/>
            <a:r>
              <a:rPr lang="en-US" sz="1400" dirty="0">
                <a:solidFill>
                  <a:srgbClr val="862624"/>
                </a:solidFill>
                <a:latin typeface="Garamond"/>
              </a:rPr>
              <a:t>Fadwa is the co-founder of IDYR. IDYR was born out of a chance encounter with women weavers. When she was a little girl, she used to draw designs of dresses (kaftans). She has a passion for drawing,  design and ancestral history. </a:t>
            </a:r>
          </a:p>
          <a:p>
            <a:pPr algn="ctr"/>
            <a:endParaRPr lang="en-US" sz="1400" dirty="0">
              <a:solidFill>
                <a:srgbClr val="862624"/>
              </a:solidFill>
              <a:latin typeface="Garamond"/>
            </a:endParaRPr>
          </a:p>
          <a:p>
            <a:pPr algn="ctr"/>
            <a:endParaRPr lang="en-US" sz="1400" dirty="0">
              <a:solidFill>
                <a:srgbClr val="862624"/>
              </a:solidFill>
              <a:latin typeface="Garamond"/>
            </a:endParaRPr>
          </a:p>
          <a:p>
            <a:pPr algn="ctr"/>
            <a:endParaRPr lang="en-US" sz="14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IDYR</a:t>
            </a:r>
          </a:p>
          <a:p>
            <a:pPr lvl="1"/>
            <a:r>
              <a:rPr lang="en-US" b="1" dirty="0">
                <a:solidFill>
                  <a:schemeClr val="tx1"/>
                </a:solidFill>
                <a:latin typeface="Garamond"/>
              </a:rPr>
              <a:t>BUSINESS ACTIVITIES: </a:t>
            </a:r>
            <a:r>
              <a:rPr lang="en-US" dirty="0">
                <a:solidFill>
                  <a:schemeClr val="tx1"/>
                </a:solidFill>
                <a:latin typeface="Garamond"/>
              </a:rPr>
              <a:t>IDYR revives the ancestral history of Berber </a:t>
            </a:r>
            <a:r>
              <a:rPr lang="en-US" dirty="0" err="1">
                <a:solidFill>
                  <a:schemeClr val="tx1"/>
                </a:solidFill>
                <a:latin typeface="Garamond"/>
              </a:rPr>
              <a:t>Boucherouite</a:t>
            </a:r>
            <a:r>
              <a:rPr lang="en-US" dirty="0">
                <a:solidFill>
                  <a:schemeClr val="tx1"/>
                </a:solidFill>
                <a:latin typeface="Garamond"/>
              </a:rPr>
              <a:t> through fashion accessories and decorative accessories hand-woven from new textile scraps.</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Morocco</a:t>
            </a:r>
          </a:p>
          <a:p>
            <a:pPr lvl="1"/>
            <a:r>
              <a:rPr lang="en-US" b="1" dirty="0">
                <a:solidFill>
                  <a:schemeClr val="tx1"/>
                </a:solidFill>
                <a:latin typeface="Garamond"/>
              </a:rPr>
              <a:t>JOBS CREATED (Full &amp; Part Time): </a:t>
            </a:r>
            <a:r>
              <a:rPr lang="en-US" dirty="0">
                <a:solidFill>
                  <a:schemeClr val="tx1"/>
                </a:solidFill>
                <a:latin typeface="Garamond"/>
              </a:rPr>
              <a:t>15</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err="1">
                <a:solidFill>
                  <a:schemeClr val="tx1"/>
                </a:solidFill>
                <a:latin typeface="Garamond"/>
              </a:rPr>
              <a:t>Fadwa</a:t>
            </a:r>
            <a:r>
              <a:rPr lang="en-ZA" sz="1400" dirty="0">
                <a:solidFill>
                  <a:schemeClr val="tx1"/>
                </a:solidFill>
                <a:latin typeface="Garamond"/>
              </a:rPr>
              <a:t> </a:t>
            </a:r>
            <a:r>
              <a:rPr lang="en-ZA" sz="1400" dirty="0" err="1">
                <a:solidFill>
                  <a:schemeClr val="tx1"/>
                </a:solidFill>
                <a:latin typeface="Garamond"/>
              </a:rPr>
              <a:t>Moussaif</a:t>
            </a:r>
            <a:endParaRPr lang="en-ZA" sz="1400" dirty="0">
              <a:solidFill>
                <a:schemeClr val="tx1"/>
              </a:solidFill>
              <a:latin typeface="Garamond"/>
            </a:endParaRPr>
          </a:p>
          <a:p>
            <a:r>
              <a:rPr lang="en-US" sz="1400" b="1" dirty="0">
                <a:solidFill>
                  <a:schemeClr val="tx1"/>
                </a:solidFill>
                <a:latin typeface="Garamond" panose="02020404030301010803" pitchFamily="18" charset="0"/>
              </a:rPr>
              <a:t>Website: </a:t>
            </a:r>
            <a:r>
              <a:rPr lang="en-US" sz="1400" dirty="0">
                <a:solidFill>
                  <a:schemeClr val="tx1"/>
                </a:solidFill>
                <a:latin typeface="Garamond" panose="02020404030301010803" pitchFamily="18" charset="0"/>
                <a:hlinkClick r:id="rId9"/>
              </a:rPr>
              <a:t>https://www.linkedin.com/in/fadwa-moussaif-294373121/</a:t>
            </a:r>
            <a:r>
              <a:rPr lang="en-US" sz="1400" dirty="0">
                <a:solidFill>
                  <a:schemeClr val="tx1"/>
                </a:solidFill>
                <a:latin typeface="Garamond" panose="02020404030301010803" pitchFamily="18" charset="0"/>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a:rPr>
              <a:t>Email: </a:t>
            </a:r>
            <a:r>
              <a:rPr lang="en-ZA" sz="1400" dirty="0">
                <a:solidFill>
                  <a:schemeClr val="tx1"/>
                </a:solidFill>
                <a:latin typeface="Garamond"/>
                <a:hlinkClick r:id="rId10"/>
              </a:rPr>
              <a:t>fadwamoussaif95@gmail.com</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12 654 152 145</a:t>
            </a:r>
            <a:endParaRPr lang="en-ZA"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666712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C94F8375-FEED-4408-A39A-0E643560975F}"/>
              </a:ext>
            </a:extLst>
          </p:cNvPr>
          <p:cNvGraphicFramePr>
            <a:graphicFrameLocks noChangeAspect="1"/>
          </p:cNvGraphicFramePr>
          <p:nvPr>
            <p:custDataLst>
              <p:tags r:id="rId2"/>
            </p:custDataLst>
            <p:extLst>
              <p:ext uri="{D42A27DB-BD31-4B8C-83A1-F6EECF244321}">
                <p14:modId xmlns:p14="http://schemas.microsoft.com/office/powerpoint/2010/main" val="616181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1510"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xmlns="" id="{1EA29686-4C48-4B6A-A884-8B732747EA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3" name="Rectangle 12">
            <a:extLst>
              <a:ext uri="{FF2B5EF4-FFF2-40B4-BE49-F238E27FC236}">
                <a16:creationId xmlns:a16="http://schemas.microsoft.com/office/drawing/2014/main" xmlns="" id="{95058E8A-CAF4-4C19-980F-C35C7E61F88D}"/>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pic>
        <p:nvPicPr>
          <p:cNvPr id="2" name="Picture 1"/>
          <p:cNvPicPr>
            <a:picLocks noChangeAspect="1"/>
          </p:cNvPicPr>
          <p:nvPr/>
        </p:nvPicPr>
        <p:blipFill rotWithShape="1">
          <a:blip r:embed="rId7"/>
          <a:srcRect l="25471" t="988" r="17850" b="984"/>
          <a:stretch/>
        </p:blipFill>
        <p:spPr>
          <a:xfrm>
            <a:off x="1304943" y="1879720"/>
            <a:ext cx="2706789"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Melissa </a:t>
            </a:r>
            <a:r>
              <a:rPr lang="en-ZA" sz="2800" b="1" dirty="0" err="1">
                <a:solidFill>
                  <a:srgbClr val="862624"/>
                </a:solidFill>
              </a:rPr>
              <a:t>Bime</a:t>
            </a:r>
            <a:r>
              <a:rPr lang="en-ZA" sz="2800" b="1" dirty="0">
                <a:solidFill>
                  <a:srgbClr val="862624"/>
                </a:solidFill>
              </a:rPr>
              <a:t> – Infiuss: Online blood bank</a:t>
            </a:r>
            <a:endParaRPr lang="en-US" sz="2800" b="1" dirty="0">
              <a:solidFill>
                <a:srgbClr val="862624"/>
              </a:solidFill>
            </a:endParaRPr>
          </a:p>
        </p:txBody>
      </p:sp>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MELISSA</a:t>
            </a:r>
          </a:p>
          <a:p>
            <a:pPr algn="ctr"/>
            <a:r>
              <a:rPr lang="en-US" sz="1400" dirty="0">
                <a:solidFill>
                  <a:srgbClr val="862624"/>
                </a:solidFill>
                <a:latin typeface="Garamond"/>
              </a:rPr>
              <a:t>Melissa is a nursing graduate and the founder of INFIUSS. Melissa founded INFIUSS after her experience of working in a hospital and witnessing too many patients dying as a result of hospitals failing to source compatible blood for life-saving transfusions. </a:t>
            </a:r>
          </a:p>
          <a:p>
            <a:pPr algn="ctr"/>
            <a:endParaRPr lang="en-US" sz="1400" dirty="0">
              <a:solidFill>
                <a:srgbClr val="862624"/>
              </a:solidFill>
              <a:latin typeface="Garamond"/>
            </a:endParaRPr>
          </a:p>
          <a:p>
            <a:pPr algn="ctr"/>
            <a:endParaRPr lang="en-US" sz="1400" dirty="0">
              <a:solidFill>
                <a:srgbClr val="862624"/>
              </a:solidFill>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Infiuss (Online Blood Bank)</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Infiuss is a digital blood bank management platform and an emergency blood sourcing and delivery service, that connects hospitals with blood banks to hospitals without blood banks and patients in need of blood transfusion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Cameroon, Ivory Coast</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0</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Melissa </a:t>
            </a:r>
            <a:r>
              <a:rPr lang="en-ZA" sz="1400" dirty="0" err="1">
                <a:solidFill>
                  <a:schemeClr val="tx1"/>
                </a:solidFill>
                <a:latin typeface="Garamond" panose="02020404030301010803" pitchFamily="18" charset="0"/>
              </a:rPr>
              <a:t>Bime</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infiuss.org</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extLst>
                    <a:ext uri="{A12FA001-AC4F-418D-AE19-62706E023703}">
                      <ahyp:hlinkClr xmlns="" xmlns:ahyp="http://schemas.microsoft.com/office/drawing/2018/hyperlinkcolor" val="tx"/>
                    </a:ext>
                  </a:extLst>
                </a:hlinkClick>
              </a:rPr>
              <a:t>mjbime@infiuss.org</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37 714 623 22</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2195879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45CA436-C0BE-4251-840F-76ED0EA529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219"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B45CA436-C0BE-4251-840F-76ED0EA529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833D0AAE-CD7A-4E54-A673-DB2170C3F8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7883D9D2-6D83-4C95-ACA4-A4766AA99D5B}"/>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a:solidFill>
                  <a:srgbClr val="862624"/>
                </a:solidFill>
              </a:rPr>
              <a:t>Caleb </a:t>
            </a:r>
            <a:r>
              <a:rPr lang="en-ZA" sz="2800" b="1" dirty="0" err="1">
                <a:solidFill>
                  <a:srgbClr val="862624"/>
                </a:solidFill>
              </a:rPr>
              <a:t>Annobil</a:t>
            </a:r>
            <a:r>
              <a:rPr lang="en-ZA" sz="2800" b="1" dirty="0">
                <a:solidFill>
                  <a:srgbClr val="862624"/>
                </a:solidFill>
              </a:rPr>
              <a:t> – IYC Life Company: Customised sachet water</a:t>
            </a:r>
            <a:endParaRPr lang="en-US" sz="2800" b="1" dirty="0">
              <a:solidFill>
                <a:srgbClr val="862624"/>
              </a:solidFill>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11716" t="3805" r="13921" b="7777"/>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a:rPr>
              <a:t>ABOUT CALEB</a:t>
            </a:r>
            <a:endParaRPr lang="en-US" sz="1600" b="1" dirty="0">
              <a:solidFill>
                <a:srgbClr val="862624"/>
              </a:solidFill>
              <a:latin typeface="Garamond" panose="02020404030301010803" pitchFamily="18" charset="0"/>
            </a:endParaRPr>
          </a:p>
          <a:p>
            <a:pPr algn="ctr"/>
            <a:r>
              <a:rPr lang="en-US" sz="1400" dirty="0">
                <a:solidFill>
                  <a:srgbClr val="862624"/>
                </a:solidFill>
                <a:latin typeface="Garamond"/>
              </a:rPr>
              <a:t>Caleb is the co-founder of IYC Life Company. Caleb became aware of the dangers of unclean water after the death of his friend due to cholera and with his own difficulty in accessing clean water. Subsequently, Caleb</a:t>
            </a:r>
            <a:r>
              <a:rPr lang="en-US" sz="1400" dirty="0">
                <a:solidFill>
                  <a:schemeClr val="accent1"/>
                </a:solidFill>
                <a:latin typeface="Garamond"/>
              </a:rPr>
              <a:t> went on to draft ideas </a:t>
            </a:r>
            <a:r>
              <a:rPr lang="en-US" sz="1400" dirty="0">
                <a:solidFill>
                  <a:schemeClr val="accent1"/>
                </a:solidFill>
                <a:latin typeface="Garamond"/>
                <a:ea typeface="+mn-lt"/>
                <a:cs typeface="+mn-lt"/>
              </a:rPr>
              <a:t>on how to provide clean water to young people. Together with his co-founder, </a:t>
            </a:r>
            <a:r>
              <a:rPr lang="en-US" sz="1400" dirty="0" err="1">
                <a:solidFill>
                  <a:schemeClr val="accent1"/>
                </a:solidFill>
                <a:latin typeface="Garamond"/>
                <a:ea typeface="+mn-lt"/>
                <a:cs typeface="+mn-lt"/>
              </a:rPr>
              <a:t>Youseff</a:t>
            </a:r>
            <a:r>
              <a:rPr lang="en-US" sz="1400" dirty="0">
                <a:solidFill>
                  <a:schemeClr val="accent1"/>
                </a:solidFill>
                <a:latin typeface="Garamond"/>
                <a:ea typeface="+mn-lt"/>
                <a:cs typeface="+mn-lt"/>
              </a:rPr>
              <a:t>, the High School Water Product was founded.</a:t>
            </a:r>
            <a:endParaRPr lang="en-US" sz="1400" dirty="0">
              <a:solidFill>
                <a:schemeClr val="accent1"/>
              </a:solidFill>
              <a:latin typeface="Garamond"/>
            </a:endParaRPr>
          </a:p>
        </p:txBody>
      </p:sp>
      <p:sp>
        <p:nvSpPr>
          <p:cNvPr id="3" name="Rectangle 2"/>
          <p:cNvSpPr/>
          <p:nvPr/>
        </p:nvSpPr>
        <p:spPr>
          <a:xfrm>
            <a:off x="4524703" y="154922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a:solidFill>
                  <a:schemeClr val="tx1"/>
                </a:solidFill>
                <a:latin typeface="Garamond"/>
              </a:rPr>
              <a:t>IYC Life Company</a:t>
            </a:r>
            <a:endParaRPr lang="en-US" dirty="0" err="1">
              <a:solidFill>
                <a:schemeClr val="tx1"/>
              </a:solidFill>
            </a:endParaRPr>
          </a:p>
          <a:p>
            <a:pPr lvl="1"/>
            <a:r>
              <a:rPr lang="en-US" b="1" dirty="0">
                <a:solidFill>
                  <a:schemeClr val="tx1"/>
                </a:solidFill>
                <a:latin typeface="Garamond"/>
              </a:rPr>
              <a:t>BUSINESS ACTIVITIES: </a:t>
            </a:r>
            <a:r>
              <a:rPr lang="en-US" dirty="0">
                <a:solidFill>
                  <a:schemeClr val="tx1"/>
                </a:solidFill>
                <a:latin typeface="Garamond"/>
              </a:rPr>
              <a:t>IYC Life Company (High School Water Project) </a:t>
            </a:r>
            <a:r>
              <a:rPr lang="en-US" dirty="0">
                <a:solidFill>
                  <a:schemeClr val="tx1"/>
                </a:solidFill>
                <a:latin typeface="Garamond"/>
                <a:ea typeface="+mn-lt"/>
                <a:cs typeface="+mn-lt"/>
              </a:rPr>
              <a:t>is an enterprise that customizes sachet water to sell to students at affordable prices. </a:t>
            </a:r>
          </a:p>
          <a:p>
            <a:pPr lvl="1"/>
            <a:r>
              <a:rPr lang="en-US" b="1" dirty="0">
                <a:solidFill>
                  <a:schemeClr val="tx1"/>
                </a:solidFill>
                <a:latin typeface="Garamond"/>
              </a:rPr>
              <a:t>BUSINESS LOCATION: </a:t>
            </a:r>
            <a:r>
              <a:rPr lang="en-US" dirty="0">
                <a:solidFill>
                  <a:schemeClr val="tx1"/>
                </a:solidFill>
                <a:latin typeface="Garamond"/>
              </a:rPr>
              <a:t>Ghana</a:t>
            </a:r>
          </a:p>
          <a:p>
            <a:pPr lvl="1"/>
            <a:r>
              <a:rPr lang="en-US" b="1" dirty="0">
                <a:solidFill>
                  <a:schemeClr val="tx1"/>
                </a:solidFill>
                <a:latin typeface="Garamond"/>
              </a:rPr>
              <a:t>JOBS CREATED (Full &amp; Part Time): </a:t>
            </a:r>
            <a:r>
              <a:rPr lang="en-US" dirty="0">
                <a:solidFill>
                  <a:schemeClr val="tx1"/>
                </a:solidFill>
                <a:latin typeface="Garamond"/>
              </a:rPr>
              <a:t>7</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Caleb </a:t>
            </a:r>
            <a:r>
              <a:rPr lang="en-ZA" sz="1400" dirty="0" err="1">
                <a:solidFill>
                  <a:schemeClr val="tx1"/>
                </a:solidFill>
                <a:latin typeface="Garamond"/>
              </a:rPr>
              <a:t>Annobil</a:t>
            </a:r>
            <a:endParaRPr lang="en-ZA" sz="1400" dirty="0" err="1">
              <a:solidFill>
                <a:schemeClr val="tx1"/>
              </a:solidFill>
              <a:latin typeface="Garamond" panose="02020404030301010803" pitchFamily="18" charset="0"/>
            </a:endParaRPr>
          </a:p>
          <a:p>
            <a:r>
              <a:rPr lang="en-ZA" sz="1400" b="1" dirty="0">
                <a:solidFill>
                  <a:schemeClr val="tx1"/>
                </a:solidFill>
                <a:latin typeface="Garamond"/>
              </a:rPr>
              <a:t>Website: </a:t>
            </a:r>
            <a:endParaRPr lang="en-ZA" sz="1400" dirty="0">
              <a:solidFill>
                <a:schemeClr val="tx1"/>
              </a:solidFill>
              <a:latin typeface="Garamond"/>
            </a:endParaRPr>
          </a:p>
          <a:p>
            <a:r>
              <a:rPr lang="en-ZA" sz="1400" dirty="0">
                <a:solidFill>
                  <a:schemeClr val="tx1"/>
                </a:solidFill>
                <a:latin typeface="Garamond"/>
                <a:hlinkClick r:id="rId8"/>
              </a:rPr>
              <a:t>https://annobilcaleb.wixsite.com/iyclifecompany</a:t>
            </a:r>
            <a:r>
              <a:rPr lang="en-ZA" sz="1400" dirty="0">
                <a:solidFill>
                  <a:schemeClr val="tx1"/>
                </a:solidFill>
                <a:latin typeface="Garamond"/>
              </a:rPr>
              <a:t> </a:t>
            </a:r>
          </a:p>
          <a:p>
            <a:r>
              <a:rPr lang="en-ZA" sz="1400" b="1" dirty="0">
                <a:solidFill>
                  <a:schemeClr val="tx1"/>
                </a:solidFill>
                <a:latin typeface="Garamond"/>
              </a:rPr>
              <a:t>Email: </a:t>
            </a:r>
            <a:r>
              <a:rPr lang="en-ZA" sz="1400" dirty="0">
                <a:solidFill>
                  <a:schemeClr val="tx1"/>
                </a:solidFill>
                <a:latin typeface="Garamond"/>
                <a:ea typeface="+mn-lt"/>
                <a:cs typeface="+mn-lt"/>
                <a:hlinkClick r:id="rId9"/>
              </a:rPr>
              <a:t>annobilcaleb@gmail.com</a:t>
            </a:r>
            <a:endParaRPr lang="en-ZA" sz="1400" dirty="0">
              <a:solidFill>
                <a:schemeClr val="tx1"/>
              </a:solidFill>
              <a:latin typeface="Garamond"/>
            </a:endParaRPr>
          </a:p>
          <a:p>
            <a:r>
              <a:rPr lang="en-ZA" sz="1400" b="1" dirty="0">
                <a:solidFill>
                  <a:schemeClr val="tx1"/>
                </a:solidFill>
                <a:latin typeface="Garamond"/>
              </a:rPr>
              <a:t>WhatsApp: </a:t>
            </a:r>
            <a:r>
              <a:rPr lang="en-ZA" sz="1400" dirty="0">
                <a:solidFill>
                  <a:schemeClr val="tx1"/>
                </a:solidFill>
                <a:latin typeface="Garamond"/>
              </a:rPr>
              <a:t>+233 269 820 908</a:t>
            </a:r>
            <a:endParaRPr lang="en-GB" sz="1400" dirty="0">
              <a:solidFill>
                <a:schemeClr val="tx1"/>
              </a:solidFill>
              <a:latin typeface="Garamond"/>
            </a:endParaRPr>
          </a:p>
        </p:txBody>
      </p:sp>
    </p:spTree>
    <p:extLst>
      <p:ext uri="{BB962C8B-B14F-4D97-AF65-F5344CB8AC3E}">
        <p14:creationId xmlns:p14="http://schemas.microsoft.com/office/powerpoint/2010/main" val="4264955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DC393D0-7ECD-4208-A314-2EDEFFBD8637}"/>
              </a:ext>
            </a:extLst>
          </p:cNvPr>
          <p:cNvGraphicFramePr>
            <a:graphicFrameLocks noChangeAspect="1"/>
          </p:cNvGraphicFramePr>
          <p:nvPr>
            <p:custDataLst>
              <p:tags r:id="rId2"/>
            </p:custDataLst>
            <p:extLst>
              <p:ext uri="{D42A27DB-BD31-4B8C-83A1-F6EECF244321}">
                <p14:modId xmlns:p14="http://schemas.microsoft.com/office/powerpoint/2010/main" val="2864651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46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33C6B246-5A85-4B9E-B8C8-66DBB33CA3B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B4677222-2D9C-4A21-B4A0-7B7F2F693787}"/>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rmAutofit/>
          </a:bodyPr>
          <a:lstStyle/>
          <a:p>
            <a:r>
              <a:rPr lang="en-ZA" sz="2800" b="1" dirty="0">
                <a:solidFill>
                  <a:srgbClr val="862624"/>
                </a:solidFill>
                <a:latin typeface="Garamond"/>
              </a:rPr>
              <a:t>Asia </a:t>
            </a:r>
            <a:r>
              <a:rPr lang="en-ZA" sz="2800" b="1" dirty="0" err="1">
                <a:solidFill>
                  <a:srgbClr val="862624"/>
                </a:solidFill>
                <a:latin typeface="Garamond"/>
              </a:rPr>
              <a:t>Saed</a:t>
            </a:r>
            <a:r>
              <a:rPr lang="en-ZA" sz="2800" b="1" dirty="0">
                <a:solidFill>
                  <a:srgbClr val="862624"/>
                </a:solidFill>
                <a:latin typeface="Garamond"/>
              </a:rPr>
              <a:t>– 2Doon: Youth development</a:t>
            </a:r>
          </a:p>
        </p:txBody>
      </p:sp>
      <p:pic>
        <p:nvPicPr>
          <p:cNvPr id="2" name="Picture 1"/>
          <p:cNvPicPr preferRelativeResize="0">
            <a:picLocks/>
          </p:cNvPicPr>
          <p:nvPr/>
        </p:nvPicPr>
        <p:blipFill rotWithShape="1">
          <a:blip r:embed="rId8">
            <a:extLst>
              <a:ext uri="{28A0092B-C50C-407E-A947-70E740481C1C}">
                <a14:useLocalDpi xmlns:a14="http://schemas.microsoft.com/office/drawing/2010/main" val="0"/>
              </a:ext>
            </a:extLst>
          </a:blip>
          <a:srcRect l="1673" t="14416" r="1604" b="9120"/>
          <a:stretch/>
        </p:blipFill>
        <p:spPr>
          <a:xfrm>
            <a:off x="1293712" y="1879719"/>
            <a:ext cx="2729249"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a:rPr>
              <a:t>ABOUT ASIA</a:t>
            </a:r>
            <a:endParaRPr lang="en-US" sz="1600" b="1" dirty="0">
              <a:solidFill>
                <a:srgbClr val="862624"/>
              </a:solidFill>
              <a:latin typeface="Garamond" panose="02020404030301010803" pitchFamily="18" charset="0"/>
            </a:endParaRPr>
          </a:p>
          <a:p>
            <a:pPr algn="ctr"/>
            <a:r>
              <a:rPr lang="en-US" sz="1400" dirty="0">
                <a:solidFill>
                  <a:schemeClr val="accent1"/>
                </a:solidFill>
                <a:latin typeface="Garamond"/>
              </a:rPr>
              <a:t>After seeing how her classmates and other youth struggled to find jobs after completing university, Asia decided to take action and founded 2Doon. Asia strives to revitalize the landscape of youth employment in Somalia.</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a:solidFill>
                  <a:schemeClr val="tx1"/>
                </a:solidFill>
                <a:latin typeface="Garamond"/>
              </a:rPr>
              <a:t>2Doon</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a:solidFill>
                  <a:schemeClr val="tx1"/>
                </a:solidFill>
                <a:latin typeface="Garamond"/>
              </a:rPr>
              <a:t>2Doon is a social enterprise that aims to reduce youth unemployment in Somalia. They do this by offering services such as compiling CVs and providing training sessions and workshops to help youth gain relevant employment skills. </a:t>
            </a:r>
          </a:p>
          <a:p>
            <a:pPr lvl="1"/>
            <a:r>
              <a:rPr lang="en-US" b="1" dirty="0">
                <a:solidFill>
                  <a:schemeClr val="tx1"/>
                </a:solidFill>
                <a:latin typeface="Garamond"/>
              </a:rPr>
              <a:t>BUSINESS LOCATION: </a:t>
            </a:r>
            <a:r>
              <a:rPr lang="en-US" dirty="0">
                <a:solidFill>
                  <a:schemeClr val="tx1"/>
                </a:solidFill>
                <a:latin typeface="Garamond" panose="02020404030301010803" pitchFamily="18" charset="0"/>
              </a:rPr>
              <a:t>Somali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13</a:t>
            </a:r>
            <a:endParaRPr lang="en-US" dirty="0">
              <a:solidFill>
                <a:schemeClr val="tx1"/>
              </a:solidFill>
              <a:latin typeface="Garamond"/>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Asia </a:t>
            </a:r>
            <a:r>
              <a:rPr lang="en-ZA" sz="1400" dirty="0" err="1">
                <a:solidFill>
                  <a:schemeClr val="tx1"/>
                </a:solidFill>
                <a:latin typeface="Garamond"/>
              </a:rPr>
              <a:t>Saed</a:t>
            </a:r>
            <a:endParaRPr lang="en-ZA" sz="1400" dirty="0">
              <a:solidFill>
                <a:schemeClr val="tx1"/>
              </a:solidFill>
              <a:latin typeface="Garamond" panose="02020404030301010803" pitchFamily="18" charset="0"/>
            </a:endParaRPr>
          </a:p>
          <a:p>
            <a:r>
              <a:rPr lang="en-ZA" sz="1400" b="1" dirty="0">
                <a:solidFill>
                  <a:schemeClr val="tx1"/>
                </a:solidFill>
                <a:latin typeface="Garamond"/>
              </a:rPr>
              <a:t>Website: </a:t>
            </a:r>
            <a:r>
              <a:rPr lang="en-ZA" sz="1400" dirty="0">
                <a:solidFill>
                  <a:schemeClr val="tx1"/>
                </a:solidFill>
                <a:latin typeface="Garamond" panose="02020404030301010803" pitchFamily="18" charset="0"/>
                <a:hlinkClick r:id="rId9"/>
              </a:rPr>
              <a:t>https://instagram.com/2doon2018</a:t>
            </a:r>
            <a:r>
              <a:rPr lang="en-ZA" sz="1400" dirty="0">
                <a:solidFill>
                  <a:schemeClr val="tx1"/>
                </a:solidFill>
                <a:latin typeface="Garamond" panose="02020404030301010803" pitchFamily="18" charset="0"/>
              </a:rPr>
              <a:t> </a:t>
            </a:r>
          </a:p>
          <a:p>
            <a:r>
              <a:rPr lang="en-ZA" sz="1400" b="1" dirty="0">
                <a:solidFill>
                  <a:schemeClr val="tx1"/>
                </a:solidFill>
                <a:latin typeface="Garamond"/>
              </a:rPr>
              <a:t>Email: </a:t>
            </a:r>
            <a:r>
              <a:rPr lang="en-ZA" sz="1400" dirty="0">
                <a:solidFill>
                  <a:schemeClr val="tx1"/>
                </a:solidFill>
                <a:latin typeface="Garamond"/>
                <a:hlinkClick r:id="rId10" action="ppaction://hlinksldjump"/>
              </a:rPr>
              <a:t>asiasaed03@gmail.com</a:t>
            </a:r>
            <a:endParaRPr lang="en-ZA" sz="1400" dirty="0">
              <a:solidFill>
                <a:schemeClr val="tx1"/>
              </a:solidFill>
              <a:latin typeface="Garamond"/>
            </a:endParaRPr>
          </a:p>
          <a:p>
            <a:r>
              <a:rPr lang="en-ZA" sz="1400" b="1" dirty="0">
                <a:solidFill>
                  <a:schemeClr val="tx1"/>
                </a:solidFill>
                <a:latin typeface="Garamond"/>
              </a:rPr>
              <a:t>WhatsApp: </a:t>
            </a:r>
            <a:r>
              <a:rPr lang="en-ZA" sz="1400" dirty="0">
                <a:solidFill>
                  <a:schemeClr val="tx1"/>
                </a:solidFill>
                <a:latin typeface="Garamond"/>
              </a:rPr>
              <a:t>+252 63 467 4100</a:t>
            </a:r>
            <a:endParaRPr lang="en-GB" sz="1400" dirty="0">
              <a:solidFill>
                <a:schemeClr val="tx1"/>
              </a:solidFill>
              <a:latin typeface="Garamond"/>
            </a:endParaRPr>
          </a:p>
        </p:txBody>
      </p:sp>
    </p:spTree>
    <p:extLst>
      <p:ext uri="{BB962C8B-B14F-4D97-AF65-F5344CB8AC3E}">
        <p14:creationId xmlns:p14="http://schemas.microsoft.com/office/powerpoint/2010/main" val="1272481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EFCF1E2-CFAE-447E-A38A-67C2945010E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391"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BEFCF1E2-CFAE-447E-A38A-67C2945010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4B57BED9-6691-4A20-8E99-709EEAA5D3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CAA5652C-6CC9-4BB1-A601-FA0DAC0B76C9}"/>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500" b="1" dirty="0" err="1">
                <a:solidFill>
                  <a:srgbClr val="862624"/>
                </a:solidFill>
                <a:latin typeface="Garamond"/>
              </a:rPr>
              <a:t>Mamadjang</a:t>
            </a:r>
            <a:r>
              <a:rPr lang="en-ZA" sz="2500" b="1" dirty="0">
                <a:solidFill>
                  <a:srgbClr val="862624"/>
                </a:solidFill>
                <a:latin typeface="Garamond"/>
              </a:rPr>
              <a:t> </a:t>
            </a:r>
            <a:r>
              <a:rPr lang="en-ZA" sz="2500" b="1" dirty="0" err="1">
                <a:solidFill>
                  <a:srgbClr val="862624"/>
                </a:solidFill>
                <a:latin typeface="Garamond"/>
              </a:rPr>
              <a:t>Jallow</a:t>
            </a:r>
            <a:r>
              <a:rPr lang="en-ZA" sz="2500" b="1" dirty="0">
                <a:solidFill>
                  <a:srgbClr val="862624"/>
                </a:solidFill>
                <a:latin typeface="Garamond"/>
              </a:rPr>
              <a:t> – </a:t>
            </a:r>
            <a:r>
              <a:rPr lang="en-ZA" sz="2500" b="1" dirty="0" err="1">
                <a:solidFill>
                  <a:srgbClr val="862624"/>
                </a:solidFill>
                <a:latin typeface="Garamond"/>
              </a:rPr>
              <a:t>Jallow</a:t>
            </a:r>
            <a:r>
              <a:rPr lang="en-ZA" sz="2500" b="1" dirty="0">
                <a:solidFill>
                  <a:srgbClr val="862624"/>
                </a:solidFill>
                <a:latin typeface="Garamond"/>
              </a:rPr>
              <a:t> Trading: Horticultural products supplier</a:t>
            </a:r>
            <a:endParaRPr lang="en-US" sz="2500" b="1" dirty="0">
              <a:solidFill>
                <a:srgbClr val="862624"/>
              </a:solidFill>
              <a:latin typeface="Garamond"/>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7654" t="8390" r="19370" b="7406"/>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MAMADJANG</a:t>
            </a:r>
          </a:p>
          <a:p>
            <a:pPr algn="ctr"/>
            <a:r>
              <a:rPr lang="en-US" sz="1400" dirty="0" err="1">
                <a:solidFill>
                  <a:srgbClr val="862624"/>
                </a:solidFill>
                <a:latin typeface="Garamond"/>
              </a:rPr>
              <a:t>Mamadjang</a:t>
            </a:r>
            <a:r>
              <a:rPr lang="en-US" sz="1400" dirty="0">
                <a:solidFill>
                  <a:srgbClr val="862624"/>
                </a:solidFill>
                <a:latin typeface="Garamond"/>
              </a:rPr>
              <a:t> was a university student who had a growing need to support his community. As a result of his tertiary education, he started his agricultural business, Jallow Trading. At the age of 15, </a:t>
            </a:r>
            <a:r>
              <a:rPr lang="en-US" sz="1400" dirty="0" err="1">
                <a:solidFill>
                  <a:srgbClr val="862624"/>
                </a:solidFill>
                <a:latin typeface="Garamond"/>
              </a:rPr>
              <a:t>Mamadjang</a:t>
            </a:r>
            <a:r>
              <a:rPr lang="en-US" sz="1400" dirty="0">
                <a:solidFill>
                  <a:srgbClr val="862624"/>
                </a:solidFill>
                <a:latin typeface="Garamond"/>
              </a:rPr>
              <a:t> became aware of the need for more jobs and gainful employment in his home country (Gambia). It seemed natural for him to follow his parents’ footsteps and to become involved in farming.</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Jallow</a:t>
            </a:r>
            <a:r>
              <a:rPr lang="en-US" dirty="0">
                <a:solidFill>
                  <a:schemeClr val="tx1"/>
                </a:solidFill>
                <a:latin typeface="Garamond" panose="02020404030301010803" pitchFamily="18" charset="0"/>
              </a:rPr>
              <a:t> Trading Vegetables Farm</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Jallow Trading is rural horticultural farm that produces organic fruits and vegetables in different varieties and sells it to local markets, restaurant, households and agricultural merchants in the Gambia. </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Gambi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4</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Mamadjang</a:t>
            </a:r>
            <a:r>
              <a:rPr lang="en-ZA" sz="1400" dirty="0">
                <a:solidFill>
                  <a:schemeClr val="tx1"/>
                </a:solidFill>
                <a:latin typeface="Garamond" panose="02020404030301010803" pitchFamily="18" charset="0"/>
              </a:rPr>
              <a:t> Jallow</a:t>
            </a: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twitter.com/JallowFarm</a:t>
            </a:r>
            <a:r>
              <a:rPr lang="en-ZA" sz="1400" dirty="0">
                <a:solidFill>
                  <a:schemeClr val="tx1"/>
                </a:solidFill>
                <a:latin typeface="Garamond" panose="02020404030301010803" pitchFamily="18" charset="0"/>
              </a:rPr>
              <a:t> </a:t>
            </a:r>
            <a:endParaRPr lang="en-ZA" sz="1400" b="1"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jallowtradingvegetablefarm@gmail.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20 342 32 57</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417815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F3C5742D-D9C0-473C-A7CC-55EDB06DF3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6266"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F3C5742D-D9C0-473C-A7CC-55EDB06DF3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22FADB2F-B927-46C7-9881-BC02DECBE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A5785839-0BA9-40CB-AF7C-EB65AD6B26A0}"/>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490013" cy="609600"/>
          </a:xfrm>
        </p:spPr>
        <p:txBody>
          <a:bodyPr anchor="t">
            <a:noAutofit/>
          </a:bodyPr>
          <a:lstStyle/>
          <a:p>
            <a:r>
              <a:rPr lang="en-ZA" sz="2800" b="1" dirty="0">
                <a:solidFill>
                  <a:srgbClr val="862624"/>
                </a:solidFill>
                <a:latin typeface="Garamond"/>
              </a:rPr>
              <a:t>Farah </a:t>
            </a:r>
            <a:r>
              <a:rPr lang="en-ZA" sz="2800" b="1" dirty="0" err="1">
                <a:solidFill>
                  <a:srgbClr val="862624"/>
                </a:solidFill>
                <a:latin typeface="Garamond"/>
              </a:rPr>
              <a:t>Emara</a:t>
            </a:r>
            <a:r>
              <a:rPr lang="en-ZA" sz="2800" b="1" dirty="0">
                <a:solidFill>
                  <a:srgbClr val="862624"/>
                </a:solidFill>
                <a:latin typeface="Garamond"/>
              </a:rPr>
              <a:t> – JIDAR: Indoor &amp; outdoor tailored wall art services</a:t>
            </a:r>
            <a:endParaRPr lang="en-US" sz="2800" b="1" dirty="0">
              <a:solidFill>
                <a:srgbClr val="862624"/>
              </a:solidFill>
              <a:latin typeface="Garamond"/>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6091" t="6305" r="6477" b="4603"/>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FARAH</a:t>
            </a:r>
          </a:p>
          <a:p>
            <a:pPr algn="ctr"/>
            <a:r>
              <a:rPr lang="en-ZA" sz="1400" dirty="0">
                <a:solidFill>
                  <a:srgbClr val="862624"/>
                </a:solidFill>
                <a:latin typeface="Garamond"/>
              </a:rPr>
              <a:t>Farah is an artist and student from Cairo with a deep desire to uplift the creative economy in Egypt. She is the founder of </a:t>
            </a:r>
            <a:r>
              <a:rPr lang="en-ZA" sz="1400" dirty="0" err="1">
                <a:solidFill>
                  <a:srgbClr val="862624"/>
                </a:solidFill>
                <a:latin typeface="Garamond"/>
              </a:rPr>
              <a:t>Jidar</a:t>
            </a:r>
            <a:r>
              <a:rPr lang="en-ZA" sz="1400" dirty="0">
                <a:solidFill>
                  <a:srgbClr val="862624"/>
                </a:solidFill>
                <a:latin typeface="Garamond"/>
              </a:rPr>
              <a:t> Wall. In recognition of her work, Farah was named one of “25 under 25” entrepreneurs reinventing Egypt by startupscene.com in 2017.</a:t>
            </a:r>
          </a:p>
          <a:p>
            <a:pPr algn="ctr"/>
            <a:endParaRPr lang="en-US" sz="1400" dirty="0">
              <a:solidFill>
                <a:srgbClr val="862624"/>
              </a:solidFill>
              <a:latin typeface="Garamond"/>
            </a:endParaRPr>
          </a:p>
          <a:p>
            <a:pPr algn="ctr"/>
            <a:endParaRPr lang="en-US" sz="14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JIDAR</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JIDAR </a:t>
            </a:r>
            <a:r>
              <a:rPr lang="en-ZA" dirty="0">
                <a:solidFill>
                  <a:schemeClr val="tx1"/>
                </a:solidFill>
                <a:latin typeface="Garamond" panose="02020404030301010803" pitchFamily="18" charset="0"/>
              </a:rPr>
              <a:t>recruits artists to paint customized murals and re-design interiors for various businesses. </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Egypt</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32</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Farah </a:t>
            </a:r>
            <a:r>
              <a:rPr lang="en-ZA" sz="1400" dirty="0" err="1">
                <a:solidFill>
                  <a:schemeClr val="tx1"/>
                </a:solidFill>
                <a:latin typeface="Garamond" panose="02020404030301010803" pitchFamily="18" charset="0"/>
              </a:rPr>
              <a:t>Emara</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jidar.ma</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farahemara@jidarwallart.com</a:t>
            </a:r>
            <a:endParaRPr lang="en-ZA" sz="1400" dirty="0">
              <a:solidFill>
                <a:schemeClr val="tx1"/>
              </a:solidFill>
              <a:latin typeface="Garamond" panose="02020404030301010803" pitchFamily="18" charset="0"/>
            </a:endParaRPr>
          </a:p>
          <a:p>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0 112 841 1125</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4352044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E8F777E7-E98C-4D20-B86B-938D5A10AE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4358"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E8F777E7-E98C-4D20-B86B-938D5A10AE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7893AE9E-ACE0-47D1-B1B2-C322C4B92B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E92DDAE4-C2BF-4AB2-84BF-A9C3332C7CE8}"/>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536857" cy="609600"/>
          </a:xfrm>
        </p:spPr>
        <p:txBody>
          <a:bodyPr>
            <a:noAutofit/>
          </a:bodyPr>
          <a:lstStyle/>
          <a:p>
            <a:r>
              <a:rPr lang="en-ZA" sz="2800" b="1" dirty="0">
                <a:solidFill>
                  <a:srgbClr val="862624"/>
                </a:solidFill>
              </a:rPr>
              <a:t>Graff </a:t>
            </a:r>
            <a:r>
              <a:rPr lang="en-ZA" sz="2800" b="1" dirty="0" err="1">
                <a:solidFill>
                  <a:srgbClr val="862624"/>
                </a:solidFill>
              </a:rPr>
              <a:t>Accrombessi</a:t>
            </a:r>
            <a:r>
              <a:rPr lang="en-ZA" sz="2800" b="1" dirty="0">
                <a:solidFill>
                  <a:srgbClr val="862624"/>
                </a:solidFill>
              </a:rPr>
              <a:t> – </a:t>
            </a:r>
            <a:r>
              <a:rPr lang="en-ZA" sz="2800" b="1" dirty="0" err="1">
                <a:solidFill>
                  <a:srgbClr val="862624"/>
                </a:solidFill>
              </a:rPr>
              <a:t>Kawan</a:t>
            </a:r>
            <a:r>
              <a:rPr lang="en-ZA" sz="2800" b="1" dirty="0">
                <a:solidFill>
                  <a:srgbClr val="862624"/>
                </a:solidFill>
              </a:rPr>
              <a:t> Africa: Food processing company</a:t>
            </a:r>
            <a:endParaRPr lang="en-US" sz="2800" b="1" dirty="0">
              <a:solidFill>
                <a:srgbClr val="862624"/>
              </a:solidFill>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17328" t="12658" r="29732" b="7287"/>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GRAFF</a:t>
            </a:r>
          </a:p>
          <a:p>
            <a:pPr algn="ctr"/>
            <a:r>
              <a:rPr lang="en-US" sz="1400" dirty="0">
                <a:solidFill>
                  <a:srgbClr val="862624"/>
                </a:solidFill>
                <a:latin typeface="Garamond" panose="02020404030301010803" pitchFamily="18" charset="0"/>
              </a:rPr>
              <a:t>Graff has a high school diploma in Food Technology and is currently studying Food Safety and Nutrition. After analyzing the situation in Benin, where poverty was more prominent among women and at the same time significant food is wasted, she co-founded </a:t>
            </a:r>
            <a:r>
              <a:rPr lang="en-US" sz="1400" dirty="0" err="1">
                <a:solidFill>
                  <a:srgbClr val="862624"/>
                </a:solidFill>
                <a:latin typeface="Garamond" panose="02020404030301010803" pitchFamily="18" charset="0"/>
              </a:rPr>
              <a:t>Kawan</a:t>
            </a:r>
            <a:r>
              <a:rPr lang="en-US" sz="1400" dirty="0">
                <a:solidFill>
                  <a:srgbClr val="862624"/>
                </a:solidFill>
                <a:latin typeface="Garamond" panose="02020404030301010803" pitchFamily="18" charset="0"/>
              </a:rPr>
              <a:t> Africa. </a:t>
            </a:r>
          </a:p>
          <a:p>
            <a:pPr algn="ctr"/>
            <a:endParaRPr lang="en-US" sz="1400" dirty="0">
              <a:solidFill>
                <a:srgbClr val="862624"/>
              </a:solidFill>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fr-FR" dirty="0" err="1">
                <a:solidFill>
                  <a:schemeClr val="tx1"/>
                </a:solidFill>
                <a:latin typeface="Garamond" panose="02020404030301010803" pitchFamily="18" charset="0"/>
              </a:rPr>
              <a:t>Kawan</a:t>
            </a:r>
            <a:r>
              <a:rPr lang="fr-FR" dirty="0">
                <a:solidFill>
                  <a:schemeClr val="tx1"/>
                </a:solidFill>
                <a:latin typeface="Garamond" panose="02020404030301010803" pitchFamily="18" charset="0"/>
              </a:rPr>
              <a:t> </a:t>
            </a:r>
            <a:r>
              <a:rPr lang="fr-FR" dirty="0" err="1">
                <a:solidFill>
                  <a:schemeClr val="tx1"/>
                </a:solidFill>
                <a:latin typeface="Garamond" panose="02020404030301010803" pitchFamily="18" charset="0"/>
              </a:rPr>
              <a:t>Africa</a:t>
            </a:r>
            <a:r>
              <a:rPr lang="en-US" dirty="0">
                <a:solidFill>
                  <a:schemeClr val="tx1"/>
                </a:solidFill>
                <a:latin typeface="Garamond" panose="02020404030301010803" pitchFamily="18" charset="0"/>
              </a:rPr>
              <a:t> </a:t>
            </a: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Kawan</a:t>
            </a:r>
            <a:r>
              <a:rPr lang="en-US" dirty="0">
                <a:solidFill>
                  <a:schemeClr val="tx1"/>
                </a:solidFill>
                <a:latin typeface="Garamond" panose="02020404030301010803" pitchFamily="18" charset="0"/>
              </a:rPr>
              <a:t> Africa is an enterprise which produces and sells tomato puree. The company also sets up workshops to train young women to produce the puree and the young women become wholesalers of </a:t>
            </a:r>
            <a:r>
              <a:rPr lang="en-US" dirty="0" err="1">
                <a:solidFill>
                  <a:schemeClr val="tx1"/>
                </a:solidFill>
                <a:latin typeface="Garamond" panose="02020404030301010803" pitchFamily="18" charset="0"/>
              </a:rPr>
              <a:t>Kawan</a:t>
            </a:r>
            <a:r>
              <a:rPr lang="en-US" dirty="0">
                <a:solidFill>
                  <a:schemeClr val="tx1"/>
                </a:solidFill>
                <a:latin typeface="Garamond" panose="02020404030301010803" pitchFamily="18" charset="0"/>
              </a:rPr>
              <a:t> Africa’s product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Benin</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8</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Graff </a:t>
            </a:r>
            <a:r>
              <a:rPr lang="en-ZA" sz="1400" dirty="0" err="1">
                <a:solidFill>
                  <a:schemeClr val="tx1"/>
                </a:solidFill>
                <a:latin typeface="Garamond" panose="02020404030301010803" pitchFamily="18" charset="0"/>
              </a:rPr>
              <a:t>Accrombessi</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facebook.com/KawanAfrica</a:t>
            </a:r>
            <a:r>
              <a:rPr lang="en-ZA" sz="1400" dirty="0">
                <a:solidFill>
                  <a:schemeClr val="tx1"/>
                </a:solidFill>
                <a:latin typeface="Garamond" panose="02020404030301010803" pitchFamily="18" charset="0"/>
              </a:rPr>
              <a:t> </a:t>
            </a:r>
            <a:endParaRPr lang="en-ZA" sz="1400" b="1"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kawanafrica@gmail.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29 617 510 37</a:t>
            </a:r>
          </a:p>
          <a:p>
            <a:pPr algn="ctr"/>
            <a:r>
              <a:rPr lang="en-ZA" sz="1600" dirty="0">
                <a:solidFill>
                  <a:schemeClr val="tx1"/>
                </a:solidFill>
                <a:latin typeface="Garamond" panose="02020404030301010803" pitchFamily="18" charset="0"/>
              </a:rPr>
              <a:t>               </a:t>
            </a:r>
            <a:endParaRPr lang="en-GB" sz="16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602239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4C516E28-D2D6-4D69-A243-EB145C1FCA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0451"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4C516E28-D2D6-4D69-A243-EB145C1FCA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7DA9557-1461-404A-BFA9-2B486D1F25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900"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ED49AD01-3630-40A8-B41D-A146E9186787}"/>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536857" cy="609600"/>
          </a:xfrm>
        </p:spPr>
        <p:txBody>
          <a:bodyPr>
            <a:noAutofit/>
          </a:bodyPr>
          <a:lstStyle/>
          <a:p>
            <a:r>
              <a:rPr lang="en-ZA" sz="2800" b="1" dirty="0" err="1">
                <a:solidFill>
                  <a:srgbClr val="862624"/>
                </a:solidFill>
              </a:rPr>
              <a:t>Yannick</a:t>
            </a:r>
            <a:r>
              <a:rPr lang="en-ZA" sz="2800" b="1" dirty="0">
                <a:solidFill>
                  <a:srgbClr val="862624"/>
                </a:solidFill>
              </a:rPr>
              <a:t> </a:t>
            </a:r>
            <a:r>
              <a:rPr lang="en-ZA" sz="2800" b="1" dirty="0" err="1">
                <a:solidFill>
                  <a:srgbClr val="862624"/>
                </a:solidFill>
              </a:rPr>
              <a:t>Kimanuka</a:t>
            </a:r>
            <a:r>
              <a:rPr lang="en-ZA" sz="2800" b="1" dirty="0">
                <a:solidFill>
                  <a:srgbClr val="862624"/>
                </a:solidFill>
              </a:rPr>
              <a:t> – KIM'S: Kindergarten &amp; primary education</a:t>
            </a:r>
            <a:endParaRPr lang="en-US" sz="2800" b="1" dirty="0">
              <a:solidFill>
                <a:srgbClr val="862624"/>
              </a:solidFill>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1899" t="3522" r="28527" b="7800"/>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YANNICK</a:t>
            </a:r>
          </a:p>
          <a:p>
            <a:pPr algn="ctr"/>
            <a:r>
              <a:rPr lang="en-US" sz="1400" dirty="0" err="1">
                <a:solidFill>
                  <a:srgbClr val="862624"/>
                </a:solidFill>
                <a:latin typeface="Garamond" panose="02020404030301010803" pitchFamily="18" charset="0"/>
              </a:rPr>
              <a:t>Yannick</a:t>
            </a:r>
            <a:r>
              <a:rPr lang="en-US" sz="1400" dirty="0">
                <a:solidFill>
                  <a:srgbClr val="862624"/>
                </a:solidFill>
                <a:latin typeface="Garamond" panose="02020404030301010803" pitchFamily="18" charset="0"/>
              </a:rPr>
              <a:t> holds a Bachelor's degree in Business Administration. Her childhood significantly influenced her passion for entrepreneurship. She created KIM’S to enable her community, which had been affected by the ongoing wars, to have access to quality education. </a:t>
            </a:r>
            <a:r>
              <a:rPr lang="en-US" sz="1400" dirty="0" err="1">
                <a:solidFill>
                  <a:srgbClr val="862624"/>
                </a:solidFill>
                <a:latin typeface="Garamond" panose="02020404030301010803" pitchFamily="18" charset="0"/>
              </a:rPr>
              <a:t>Yannick</a:t>
            </a:r>
            <a:r>
              <a:rPr lang="en-US" sz="1400" dirty="0">
                <a:solidFill>
                  <a:srgbClr val="862624"/>
                </a:solidFill>
                <a:latin typeface="Garamond" panose="02020404030301010803" pitchFamily="18" charset="0"/>
              </a:rPr>
              <a:t> was the 2019 </a:t>
            </a:r>
            <a:r>
              <a:rPr lang="en-US" sz="1400" dirty="0" err="1">
                <a:solidFill>
                  <a:srgbClr val="862624"/>
                </a:solidFill>
                <a:latin typeface="Garamond" panose="02020404030301010803" pitchFamily="18" charset="0"/>
              </a:rPr>
              <a:t>Anzisha</a:t>
            </a:r>
            <a:r>
              <a:rPr lang="en-US" sz="1400" dirty="0">
                <a:solidFill>
                  <a:srgbClr val="862624"/>
                </a:solidFill>
                <a:latin typeface="Garamond" panose="02020404030301010803" pitchFamily="18" charset="0"/>
              </a:rPr>
              <a:t> Grand Prize winner and has also been awarded many other national prizes.</a:t>
            </a:r>
            <a:endParaRPr lang="en-US" sz="1400" dirty="0">
              <a:solidFill>
                <a:srgbClr val="862624"/>
              </a:solidFill>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Complexe </a:t>
            </a:r>
            <a:r>
              <a:rPr lang="en-ZA" dirty="0" err="1">
                <a:solidFill>
                  <a:schemeClr val="tx1"/>
                </a:solidFill>
                <a:latin typeface="Garamond" panose="02020404030301010803" pitchFamily="18" charset="0"/>
              </a:rPr>
              <a:t>Scolaire</a:t>
            </a:r>
            <a:r>
              <a:rPr lang="en-ZA" dirty="0">
                <a:solidFill>
                  <a:schemeClr val="tx1"/>
                </a:solidFill>
                <a:latin typeface="Garamond" panose="02020404030301010803" pitchFamily="18" charset="0"/>
              </a:rPr>
              <a:t> KIM'S</a:t>
            </a:r>
          </a:p>
          <a:p>
            <a:pPr lvl="1"/>
            <a:r>
              <a:rPr lang="en-US" b="1" dirty="0">
                <a:solidFill>
                  <a:schemeClr val="tx1"/>
                </a:solidFill>
                <a:latin typeface="Garamond" panose="02020404030301010803" pitchFamily="18" charset="0"/>
              </a:rPr>
              <a:t>BUSINESS ACTIVITIES: </a:t>
            </a:r>
            <a:r>
              <a:rPr lang="en-ZA" dirty="0">
                <a:solidFill>
                  <a:schemeClr val="tx1"/>
                </a:solidFill>
                <a:latin typeface="Garamond" panose="02020404030301010803" pitchFamily="18" charset="0"/>
              </a:rPr>
              <a:t>Complexe </a:t>
            </a:r>
            <a:r>
              <a:rPr lang="en-ZA" dirty="0" err="1">
                <a:solidFill>
                  <a:schemeClr val="tx1"/>
                </a:solidFill>
                <a:latin typeface="Garamond" panose="02020404030301010803" pitchFamily="18" charset="0"/>
              </a:rPr>
              <a:t>Scolaire</a:t>
            </a:r>
            <a:r>
              <a:rPr lang="en-ZA" dirty="0">
                <a:solidFill>
                  <a:schemeClr val="tx1"/>
                </a:solidFill>
                <a:latin typeface="Garamond" panose="02020404030301010803" pitchFamily="18" charset="0"/>
              </a:rPr>
              <a:t> KIM'S </a:t>
            </a:r>
            <a:r>
              <a:rPr lang="en-US" dirty="0">
                <a:solidFill>
                  <a:schemeClr val="tx1"/>
                </a:solidFill>
                <a:latin typeface="Garamond" panose="02020404030301010803" pitchFamily="18" charset="0"/>
              </a:rPr>
              <a:t>is a nursery and primary school which aims to reduce the trend of intellectual disability found in children from her community.</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Democratic Republic of Congo</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3</a:t>
            </a:r>
          </a:p>
        </p:txBody>
      </p:sp>
      <p:sp>
        <p:nvSpPr>
          <p:cNvPr id="4" name="Rectangular Callout 3"/>
          <p:cNvSpPr/>
          <p:nvPr/>
        </p:nvSpPr>
        <p:spPr>
          <a:xfrm>
            <a:off x="1007442" y="4698125"/>
            <a:ext cx="3259756"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Yannick</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Kimanuka</a:t>
            </a:r>
            <a:r>
              <a:rPr lang="en-ZA" sz="1400" dirty="0">
                <a:solidFill>
                  <a:schemeClr val="tx1"/>
                </a:solidFill>
                <a:latin typeface="Garamond" panose="02020404030301010803" pitchFamily="18" charset="0"/>
              </a:rPr>
              <a:t> </a:t>
            </a:r>
          </a:p>
          <a:p>
            <a:r>
              <a:rPr lang="en-US" sz="1400" b="1" dirty="0">
                <a:solidFill>
                  <a:schemeClr val="tx1"/>
                </a:solidFill>
                <a:latin typeface="Garamond" panose="02020404030301010803" pitchFamily="18" charset="0"/>
              </a:rPr>
              <a:t>Website: </a:t>
            </a:r>
            <a:r>
              <a:rPr lang="en-US" sz="1400" dirty="0">
                <a:solidFill>
                  <a:schemeClr val="tx1"/>
                </a:solidFill>
                <a:latin typeface="Garamond" panose="02020404030301010803" pitchFamily="18" charset="0"/>
                <a:hlinkClick r:id="rId8"/>
              </a:rPr>
              <a:t>https://www.linkedin.com/in/yannick-kimanuka-b864b5192/</a:t>
            </a:r>
            <a:r>
              <a:rPr lang="en-US" sz="1400" dirty="0">
                <a:solidFill>
                  <a:schemeClr val="tx1"/>
                </a:solidFill>
                <a:latin typeface="Garamond" panose="02020404030301010803" pitchFamily="18" charset="0"/>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yannickkims5@gmail.com</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43 995 840 830</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963647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EE31F457-5F71-47FA-ADDB-5EF9DAFA4A3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4871"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EE31F457-5F71-47FA-ADDB-5EF9DAFA4A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6D907A63-DE09-49C3-A6FD-D727FCAC518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E737808A-FE49-4B60-8542-9159E6C4AFD2}"/>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500" b="1" dirty="0" err="1">
                <a:solidFill>
                  <a:srgbClr val="862624"/>
                </a:solidFill>
                <a:latin typeface="Garamond"/>
              </a:rPr>
              <a:t>Karidas</a:t>
            </a:r>
            <a:r>
              <a:rPr lang="en-ZA" sz="2500" b="1" dirty="0">
                <a:solidFill>
                  <a:srgbClr val="862624"/>
                </a:solidFill>
                <a:latin typeface="Garamond"/>
              </a:rPr>
              <a:t> </a:t>
            </a:r>
            <a:r>
              <a:rPr lang="en-ZA" sz="2500" b="1" dirty="0" err="1">
                <a:solidFill>
                  <a:srgbClr val="862624"/>
                </a:solidFill>
                <a:latin typeface="Garamond"/>
              </a:rPr>
              <a:t>Tshintsholo</a:t>
            </a:r>
            <a:r>
              <a:rPr lang="en-ZA" sz="2500" b="1" dirty="0">
                <a:solidFill>
                  <a:srgbClr val="862624"/>
                </a:solidFill>
                <a:latin typeface="Garamond"/>
              </a:rPr>
              <a:t>– KHULA!: Platform connecting farmers and buyers</a:t>
            </a:r>
            <a:endParaRPr lang="en-US" sz="2500" b="1" dirty="0">
              <a:solidFill>
                <a:srgbClr val="862624"/>
              </a:solidFill>
              <a:latin typeface="Garamond"/>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9275" r="2291" b="15630"/>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KARIDAS</a:t>
            </a:r>
          </a:p>
          <a:p>
            <a:pPr lvl="0" algn="ctr"/>
            <a:r>
              <a:rPr lang="en-US" sz="1400" dirty="0" err="1">
                <a:solidFill>
                  <a:schemeClr val="accent1"/>
                </a:solidFill>
                <a:latin typeface="Garamond" panose="02020404030301010803" pitchFamily="18" charset="0"/>
              </a:rPr>
              <a:t>Karidas</a:t>
            </a:r>
            <a:r>
              <a:rPr lang="en-US" sz="1400" dirty="0">
                <a:solidFill>
                  <a:schemeClr val="accent1"/>
                </a:solidFill>
                <a:latin typeface="Garamond" panose="02020404030301010803" pitchFamily="18" charset="0"/>
              </a:rPr>
              <a:t> is an experienced entrepreneur and co-founder of </a:t>
            </a:r>
            <a:r>
              <a:rPr lang="en-US" sz="1400" dirty="0" err="1">
                <a:solidFill>
                  <a:schemeClr val="accent1"/>
                </a:solidFill>
                <a:latin typeface="Garamond" panose="02020404030301010803" pitchFamily="18" charset="0"/>
              </a:rPr>
              <a:t>Khula</a:t>
            </a:r>
            <a:r>
              <a:rPr lang="en-US" sz="1400" dirty="0">
                <a:solidFill>
                  <a:schemeClr val="accent1"/>
                </a:solidFill>
                <a:latin typeface="Garamond" panose="02020404030301010803" pitchFamily="18" charset="0"/>
              </a:rPr>
              <a:t>. He is the previous founder of </a:t>
            </a:r>
            <a:r>
              <a:rPr lang="en-US" sz="1400" dirty="0" err="1">
                <a:solidFill>
                  <a:schemeClr val="accent1"/>
                </a:solidFill>
                <a:latin typeface="Garamond" panose="02020404030301010803" pitchFamily="18" charset="0"/>
              </a:rPr>
              <a:t>MoneyTree</a:t>
            </a:r>
            <a:r>
              <a:rPr lang="en-US" sz="1400" dirty="0">
                <a:solidFill>
                  <a:schemeClr val="accent1"/>
                </a:solidFill>
                <a:latin typeface="Garamond" panose="02020404030301010803" pitchFamily="18" charset="0"/>
              </a:rPr>
              <a:t> Group, a business in the banking and education sector. </a:t>
            </a:r>
            <a:r>
              <a:rPr lang="en-US" sz="1400" dirty="0" err="1">
                <a:solidFill>
                  <a:schemeClr val="accent1"/>
                </a:solidFill>
                <a:latin typeface="Garamond" panose="02020404030301010803" pitchFamily="18" charset="0"/>
              </a:rPr>
              <a:t>Karidas</a:t>
            </a:r>
            <a:r>
              <a:rPr lang="en-US" sz="1400" dirty="0">
                <a:solidFill>
                  <a:schemeClr val="accent1"/>
                </a:solidFill>
                <a:latin typeface="Garamond" panose="02020404030301010803" pitchFamily="18" charset="0"/>
              </a:rPr>
              <a:t> is a proud product of the township from which he was raised. </a:t>
            </a:r>
          </a:p>
          <a:p>
            <a:pPr lvl="0" algn="ctr"/>
            <a:endParaRPr lang="en-US" sz="1400" dirty="0">
              <a:solidFill>
                <a:schemeClr val="accent1"/>
              </a:solidFill>
              <a:latin typeface="Garamond" panose="02020404030301010803" pitchFamily="18" charset="0"/>
            </a:endParaRPr>
          </a:p>
          <a:p>
            <a:pPr lvl="0" algn="ctr"/>
            <a:endParaRPr lang="en-US" sz="1400" dirty="0">
              <a:solidFill>
                <a:srgbClr val="862624"/>
              </a:solidFill>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Khula</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Khula</a:t>
            </a:r>
            <a:r>
              <a:rPr lang="en-US" dirty="0">
                <a:solidFill>
                  <a:schemeClr val="tx1"/>
                </a:solidFill>
                <a:latin typeface="Garamond" panose="02020404030301010803" pitchFamily="18" charset="0"/>
              </a:rPr>
              <a:t> is an integrated platform that connects producers to customers who are looking for locally grown fresh produce right from the soil (market access). </a:t>
            </a:r>
            <a:r>
              <a:rPr lang="en-US" dirty="0" err="1">
                <a:solidFill>
                  <a:schemeClr val="tx1"/>
                </a:solidFill>
                <a:latin typeface="Garamond" panose="02020404030301010803" pitchFamily="18" charset="0"/>
              </a:rPr>
              <a:t>Khula</a:t>
            </a:r>
            <a:r>
              <a:rPr lang="en-US" dirty="0">
                <a:solidFill>
                  <a:schemeClr val="tx1"/>
                </a:solidFill>
                <a:latin typeface="Garamond" panose="02020404030301010803" pitchFamily="18" charset="0"/>
              </a:rPr>
              <a:t> also provides a shared cold chain through a driver app.</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South Africa</a:t>
            </a:r>
          </a:p>
          <a:p>
            <a:pPr lvl="1"/>
            <a:r>
              <a:rPr lang="en-US" b="1" dirty="0">
                <a:solidFill>
                  <a:schemeClr val="tx1"/>
                </a:solidFill>
                <a:latin typeface="Garamond"/>
              </a:rPr>
              <a:t>JOBS CREATED (Full &amp; Part Time): </a:t>
            </a:r>
            <a:r>
              <a:rPr lang="en-US" dirty="0">
                <a:solidFill>
                  <a:schemeClr val="tx1"/>
                </a:solidFill>
                <a:latin typeface="Garamond"/>
              </a:rPr>
              <a:t>14</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Karidas</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Tshintsholo</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khula.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karidast@khula.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7 79 388 7439</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903391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9BCD1F25-A6C0-41BC-859A-1D383631554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7289" name="think-cell Slide" r:id="rId5" imgW="421" imgH="423" progId="TCLayout.ActiveDocument.1">
                  <p:embed/>
                </p:oleObj>
              </mc:Choice>
              <mc:Fallback>
                <p:oleObj name="think-cell Slide" r:id="rId5" imgW="421" imgH="423" progId="TCLayout.ActiveDocument.1">
                  <p:embed/>
                  <p:pic>
                    <p:nvPicPr>
                      <p:cNvPr id="11" name="Object 10" hidden="1">
                        <a:extLst>
                          <a:ext uri="{FF2B5EF4-FFF2-40B4-BE49-F238E27FC236}">
                            <a16:creationId xmlns:a16="http://schemas.microsoft.com/office/drawing/2014/main" xmlns="" id="{9BCD1F25-A6C0-41BC-859A-1D38363155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5F4E217D-C1CC-415A-A4A1-858F310051B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F93DD5D0-C2B7-429E-830D-6BEFE97F7D7F}"/>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err="1">
                <a:solidFill>
                  <a:srgbClr val="862624"/>
                </a:solidFill>
              </a:rPr>
              <a:t>Issam</a:t>
            </a:r>
            <a:r>
              <a:rPr lang="en-ZA" sz="2800" b="1" dirty="0">
                <a:solidFill>
                  <a:srgbClr val="862624"/>
                </a:solidFill>
              </a:rPr>
              <a:t> </a:t>
            </a:r>
            <a:r>
              <a:rPr lang="en-ZA" sz="2800" b="1" dirty="0" err="1">
                <a:solidFill>
                  <a:srgbClr val="862624"/>
                </a:solidFill>
              </a:rPr>
              <a:t>Darui</a:t>
            </a:r>
            <a:r>
              <a:rPr lang="en-ZA" sz="2800" b="1" dirty="0">
                <a:solidFill>
                  <a:srgbClr val="862624"/>
                </a:solidFill>
              </a:rPr>
              <a:t> – Lagare.me: Digital bus ticket </a:t>
            </a:r>
            <a:r>
              <a:rPr lang="en-ZA" sz="2800" b="1">
                <a:solidFill>
                  <a:srgbClr val="862624"/>
                </a:solidFill>
              </a:rPr>
              <a:t>booking platform</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909" b="11522"/>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862624"/>
              </a:solidFill>
              <a:latin typeface="Garamond" panose="02020404030301010803" pitchFamily="18" charset="0"/>
            </a:endParaRPr>
          </a:p>
          <a:p>
            <a:pPr algn="ctr"/>
            <a:endParaRPr lang="en-US" sz="1200" b="1" dirty="0">
              <a:solidFill>
                <a:srgbClr val="862624"/>
              </a:solidFill>
              <a:latin typeface="Garamond" panose="02020404030301010803" pitchFamily="18" charset="0"/>
            </a:endParaRPr>
          </a:p>
          <a:p>
            <a:pPr algn="ctr"/>
            <a:r>
              <a:rPr lang="en-US" sz="1600" b="1" dirty="0">
                <a:solidFill>
                  <a:srgbClr val="862624"/>
                </a:solidFill>
                <a:latin typeface="Garamond" panose="02020404030301010803" pitchFamily="18" charset="0"/>
              </a:rPr>
              <a:t>ABOUT ISSAM</a:t>
            </a:r>
          </a:p>
          <a:p>
            <a:pPr algn="ctr"/>
            <a:r>
              <a:rPr lang="en-ZA" sz="1400" dirty="0">
                <a:solidFill>
                  <a:srgbClr val="862624"/>
                </a:solidFill>
                <a:latin typeface="Garamond"/>
              </a:rPr>
              <a:t>Issam studied economics at the Universite Mohammed Premier-Oujda. At 13 years old, his elder brother became a professional bus driver. Soon afterwards, Issam started working as a driver’s assistant during the holidays. His experiences resulted in his desire to establish Lagare.ma, the first electronic bus station in Morocco. Lagare.me was selected as one of the Top 5 Best Start-ups in Morocco and was also recognized as the best e-commerce platform in Morocco.</a:t>
            </a:r>
          </a:p>
          <a:p>
            <a:r>
              <a:rPr lang="en-ZA" sz="1600" dirty="0">
                <a:solidFill>
                  <a:srgbClr val="862624"/>
                </a:solidFill>
                <a:latin typeface="Garamond" panose="02020404030301010803" pitchFamily="18" charset="0"/>
              </a:rPr>
              <a:t/>
            </a:r>
            <a:br>
              <a:rPr lang="en-ZA" sz="1600" dirty="0">
                <a:solidFill>
                  <a:srgbClr val="862624"/>
                </a:solidFill>
                <a:latin typeface="Garamond" panose="02020404030301010803" pitchFamily="18" charset="0"/>
              </a:rPr>
            </a:br>
            <a:endParaRPr lang="en-US" sz="16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Lagare.me</a:t>
            </a:r>
          </a:p>
          <a:p>
            <a:pPr lvl="1"/>
            <a:r>
              <a:rPr lang="en-US" b="1" dirty="0">
                <a:solidFill>
                  <a:schemeClr val="tx1"/>
                </a:solidFill>
                <a:latin typeface="Garamond"/>
              </a:rPr>
              <a:t>BUSINESS ACTIVITIES: </a:t>
            </a:r>
            <a:r>
              <a:rPr lang="en-ZA" dirty="0">
                <a:solidFill>
                  <a:schemeClr val="tx1"/>
                </a:solidFill>
                <a:latin typeface="Garamond"/>
              </a:rPr>
              <a:t>Lagare.ma enables customers to find, compare, and book inter-city bus tickets (across Morocco) online. </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Morocco</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6</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Issam</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Darui</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lagare.ma</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ction="ppaction://hlinksldjump"/>
              </a:rPr>
              <a:t>issam@lagare.ma</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12 661 770883</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304267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2293638-8EBB-4308-8534-C90EC0897B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7017"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B2293638-8EBB-4308-8534-C90EC0897B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E1FBF899-1F11-4714-B439-24FD35F5A97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053805AA-1CFB-4B9E-8BE3-12BD5453E8EC}"/>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err="1">
                <a:solidFill>
                  <a:srgbClr val="862624"/>
                </a:solidFill>
              </a:rPr>
              <a:t>Lourena</a:t>
            </a:r>
            <a:r>
              <a:rPr lang="en-ZA" sz="2800" b="1" dirty="0">
                <a:solidFill>
                  <a:srgbClr val="862624"/>
                </a:solidFill>
              </a:rPr>
              <a:t> </a:t>
            </a:r>
            <a:r>
              <a:rPr lang="en-ZA" sz="2800" b="1" dirty="0" err="1">
                <a:solidFill>
                  <a:srgbClr val="862624"/>
                </a:solidFill>
              </a:rPr>
              <a:t>Bundi</a:t>
            </a:r>
            <a:r>
              <a:rPr lang="en-ZA" sz="2800" b="1" dirty="0">
                <a:solidFill>
                  <a:srgbClr val="862624"/>
                </a:solidFill>
              </a:rPr>
              <a:t>– L&amp;C Buffet </a:t>
            </a:r>
            <a:r>
              <a:rPr lang="en-ZA" sz="2800" b="1" dirty="0" err="1">
                <a:solidFill>
                  <a:srgbClr val="862624"/>
                </a:solidFill>
              </a:rPr>
              <a:t>Infantil</a:t>
            </a:r>
            <a:r>
              <a:rPr lang="en-ZA" sz="2800" b="1" dirty="0">
                <a:solidFill>
                  <a:srgbClr val="862624"/>
                </a:solidFill>
              </a:rPr>
              <a:t>: Event management</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3824" r="3824" b="11520"/>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Garamond" panose="02020404030301010803" pitchFamily="18" charset="0"/>
              </a:rPr>
              <a:t>ABOUT LOURENA</a:t>
            </a:r>
          </a:p>
          <a:p>
            <a:pPr algn="ctr"/>
            <a:r>
              <a:rPr lang="en-US" sz="1400" dirty="0" err="1">
                <a:solidFill>
                  <a:schemeClr val="accent1"/>
                </a:solidFill>
                <a:latin typeface="Garamond"/>
              </a:rPr>
              <a:t>Lourena</a:t>
            </a:r>
            <a:r>
              <a:rPr lang="en-US" sz="1400" dirty="0">
                <a:solidFill>
                  <a:schemeClr val="accent1"/>
                </a:solidFill>
                <a:latin typeface="Garamond"/>
              </a:rPr>
              <a:t> is the founder of L&amp;C Buffet </a:t>
            </a:r>
            <a:r>
              <a:rPr lang="en-US" sz="1400" dirty="0" err="1">
                <a:solidFill>
                  <a:schemeClr val="accent1"/>
                </a:solidFill>
                <a:latin typeface="Garamond"/>
              </a:rPr>
              <a:t>Infantil</a:t>
            </a:r>
            <a:r>
              <a:rPr lang="en-US" sz="1400" dirty="0">
                <a:solidFill>
                  <a:schemeClr val="accent1"/>
                </a:solidFill>
                <a:latin typeface="Garamond"/>
              </a:rPr>
              <a:t>. She has a knack for identifying opportunities in areas that are not always easily evident. In 2015, after her cousin had asked her to organize a baby shower, </a:t>
            </a:r>
            <a:r>
              <a:rPr lang="en-US" sz="1400" dirty="0" err="1">
                <a:solidFill>
                  <a:schemeClr val="accent1"/>
                </a:solidFill>
                <a:latin typeface="Garamond"/>
              </a:rPr>
              <a:t>Lourena</a:t>
            </a:r>
            <a:r>
              <a:rPr lang="en-US" sz="1400" dirty="0">
                <a:solidFill>
                  <a:schemeClr val="accent1"/>
                </a:solidFill>
                <a:latin typeface="Garamond"/>
              </a:rPr>
              <a:t> realized that there is a limited number of party planners who specialize in creating parties for young children in Angola. She quickly realized she could apply her organizational and creative skills to bridge the gap with the creation of L&amp;C Buffet </a:t>
            </a:r>
            <a:r>
              <a:rPr lang="en-US" sz="1400" dirty="0" err="1">
                <a:solidFill>
                  <a:schemeClr val="accent1"/>
                </a:solidFill>
                <a:latin typeface="Garamond"/>
              </a:rPr>
              <a:t>Infantil</a:t>
            </a:r>
            <a:r>
              <a:rPr lang="en-US" sz="1400" dirty="0">
                <a:solidFill>
                  <a:schemeClr val="accent1"/>
                </a:solidFill>
                <a:latin typeface="Garamond"/>
              </a:rPr>
              <a:t>.</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a:solidFill>
                  <a:schemeClr val="tx1"/>
                </a:solidFill>
                <a:latin typeface="Garamond"/>
              </a:rPr>
              <a:t>L&amp;C Buffet </a:t>
            </a:r>
            <a:r>
              <a:rPr lang="en-US" dirty="0" err="1">
                <a:solidFill>
                  <a:schemeClr val="tx1"/>
                </a:solidFill>
                <a:latin typeface="Garamond"/>
              </a:rPr>
              <a:t>Infantil</a:t>
            </a:r>
            <a:endParaRPr lang="en-US" dirty="0">
              <a:solidFill>
                <a:schemeClr val="tx1"/>
              </a:solidFill>
              <a:latin typeface="Garamond"/>
            </a:endParaRPr>
          </a:p>
          <a:p>
            <a:pPr lvl="1"/>
            <a:r>
              <a:rPr lang="en-US" b="1" dirty="0">
                <a:solidFill>
                  <a:schemeClr val="tx1"/>
                </a:solidFill>
                <a:latin typeface="Garamond"/>
              </a:rPr>
              <a:t>BUSINESS ACTIVITIES: </a:t>
            </a:r>
            <a:r>
              <a:rPr lang="en-US" dirty="0">
                <a:solidFill>
                  <a:schemeClr val="tx1"/>
                </a:solidFill>
                <a:latin typeface="Garamond"/>
              </a:rPr>
              <a:t>L&amp;C Buffett </a:t>
            </a:r>
            <a:r>
              <a:rPr lang="en-US" dirty="0" err="1">
                <a:solidFill>
                  <a:schemeClr val="tx1"/>
                </a:solidFill>
                <a:latin typeface="Garamond"/>
              </a:rPr>
              <a:t>Infantil</a:t>
            </a:r>
            <a:r>
              <a:rPr lang="en-US" dirty="0">
                <a:solidFill>
                  <a:schemeClr val="tx1"/>
                </a:solidFill>
                <a:latin typeface="Garamond"/>
              </a:rPr>
              <a:t> provides customized birthday party experiences for kids. </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Angola</a:t>
            </a:r>
          </a:p>
          <a:p>
            <a:pPr lvl="1"/>
            <a:r>
              <a:rPr lang="en-US" b="1" dirty="0">
                <a:solidFill>
                  <a:schemeClr val="tx1"/>
                </a:solidFill>
                <a:latin typeface="Garamond"/>
              </a:rPr>
              <a:t>JOBS CREATED (Full &amp; Part Time): </a:t>
            </a:r>
            <a:r>
              <a:rPr lang="en-US" dirty="0">
                <a:solidFill>
                  <a:schemeClr val="tx1"/>
                </a:solidFill>
                <a:latin typeface="Garamond"/>
              </a:rPr>
              <a:t>22</a:t>
            </a:r>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err="1">
                <a:solidFill>
                  <a:schemeClr val="tx1"/>
                </a:solidFill>
                <a:latin typeface="Garamond"/>
              </a:rPr>
              <a:t>Lourena</a:t>
            </a:r>
            <a:r>
              <a:rPr lang="en-ZA" sz="1400" dirty="0">
                <a:solidFill>
                  <a:schemeClr val="tx1"/>
                </a:solidFill>
                <a:latin typeface="Garamond"/>
              </a:rPr>
              <a:t> Bundi</a:t>
            </a:r>
          </a:p>
          <a:p>
            <a:r>
              <a:rPr lang="en-ZA" sz="1400" b="1" dirty="0">
                <a:solidFill>
                  <a:schemeClr val="tx1"/>
                </a:solidFill>
                <a:latin typeface="Garamond"/>
              </a:rPr>
              <a:t>Website: </a:t>
            </a:r>
            <a:r>
              <a:rPr lang="en-ZA" sz="1400" dirty="0">
                <a:solidFill>
                  <a:schemeClr val="tx1"/>
                </a:solidFill>
                <a:latin typeface="Garamond"/>
                <a:ea typeface="+mn-lt"/>
                <a:cs typeface="+mn-lt"/>
              </a:rPr>
              <a:t>https://instagram.com/lcbuffetinfantil</a:t>
            </a:r>
            <a:endParaRPr lang="en-ZA" sz="1400" b="1" dirty="0">
              <a:solidFill>
                <a:schemeClr val="tx1"/>
              </a:solidFill>
              <a:latin typeface="Garamond"/>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8"/>
              </a:rPr>
              <a:t>lourenabundi@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44 933 048 533</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339981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1A50CDB8-95E9-4CFA-B55E-7B7D02619C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9767"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1A50CDB8-95E9-4CFA-B55E-7B7D02619C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B836F235-F385-4CEB-803C-F4E336B0B6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B57EBA1F-B170-49C4-B537-3339973C20B5}"/>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66828"/>
            <a:ext cx="10213460" cy="609600"/>
          </a:xfrm>
        </p:spPr>
        <p:txBody>
          <a:bodyPr>
            <a:noAutofit/>
          </a:bodyPr>
          <a:lstStyle/>
          <a:p>
            <a:r>
              <a:rPr lang="en-ZA" sz="2500" b="1" dirty="0">
                <a:solidFill>
                  <a:srgbClr val="862624"/>
                </a:solidFill>
              </a:rPr>
              <a:t>Jesse Forrester – </a:t>
            </a:r>
            <a:r>
              <a:rPr lang="en-ZA" sz="2500" b="1" dirty="0" err="1">
                <a:solidFill>
                  <a:srgbClr val="862624"/>
                </a:solidFill>
              </a:rPr>
              <a:t>Mazi</a:t>
            </a:r>
            <a:r>
              <a:rPr lang="en-ZA" sz="2500" b="1" dirty="0">
                <a:solidFill>
                  <a:srgbClr val="862624"/>
                </a:solidFill>
              </a:rPr>
              <a:t>: Green technology catalysing the transport industry</a:t>
            </a:r>
            <a:endParaRPr lang="en-US" sz="25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966" t="4050" r="5580" b="7757"/>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JESSE</a:t>
            </a:r>
          </a:p>
          <a:p>
            <a:pPr algn="ctr"/>
            <a:r>
              <a:rPr lang="en-US" sz="1400" dirty="0">
                <a:solidFill>
                  <a:srgbClr val="862624"/>
                </a:solidFill>
                <a:latin typeface="Garamond"/>
              </a:rPr>
              <a:t>Jesse is passionate about entrepreneurship, finance, technology and public speaking. He is a public speaker and has participated in events such as TEDx, the </a:t>
            </a:r>
            <a:r>
              <a:rPr lang="en-US" sz="1400" dirty="0" err="1">
                <a:solidFill>
                  <a:srgbClr val="862624"/>
                </a:solidFill>
                <a:latin typeface="Garamond"/>
              </a:rPr>
              <a:t>Anzisha</a:t>
            </a:r>
            <a:r>
              <a:rPr lang="en-US" sz="1400" dirty="0">
                <a:solidFill>
                  <a:srgbClr val="862624"/>
                </a:solidFill>
                <a:latin typeface="Garamond"/>
              </a:rPr>
              <a:t> Prize, and the Abu Dhabi Sustainability Week. Jesse hopes that </a:t>
            </a:r>
            <a:r>
              <a:rPr lang="en-US" sz="1400" dirty="0" err="1">
                <a:solidFill>
                  <a:srgbClr val="862624"/>
                </a:solidFill>
                <a:latin typeface="Garamond"/>
              </a:rPr>
              <a:t>Mazi</a:t>
            </a:r>
            <a:r>
              <a:rPr lang="en-US" sz="1400" dirty="0">
                <a:solidFill>
                  <a:srgbClr val="862624"/>
                </a:solidFill>
                <a:latin typeface="Garamond"/>
              </a:rPr>
              <a:t> will inspire youth to use green business and green initiatives to transform Africa.</a:t>
            </a:r>
            <a:endParaRPr lang="en-US" sz="1200" dirty="0">
              <a:solidFill>
                <a:srgbClr val="862624"/>
              </a:solidFill>
              <a:latin typeface="Garamond"/>
            </a:endParaRPr>
          </a:p>
        </p:txBody>
      </p:sp>
      <p:sp>
        <p:nvSpPr>
          <p:cNvPr id="3" name="Rectangle 2"/>
          <p:cNvSpPr/>
          <p:nvPr/>
        </p:nvSpPr>
        <p:spPr>
          <a:xfrm>
            <a:off x="4524703" y="1671145"/>
            <a:ext cx="6439307" cy="282623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endParaRPr lang="en-US" b="1"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Mazi</a:t>
            </a:r>
          </a:p>
          <a:p>
            <a:pPr lvl="1"/>
            <a:r>
              <a:rPr lang="en-US" b="1" dirty="0">
                <a:solidFill>
                  <a:schemeClr val="tx1"/>
                </a:solidFill>
                <a:latin typeface="Garamond"/>
              </a:rPr>
              <a:t>BUSINESS ACTIVITIES: </a:t>
            </a:r>
            <a:r>
              <a:rPr lang="en-US" dirty="0">
                <a:solidFill>
                  <a:schemeClr val="tx1"/>
                </a:solidFill>
                <a:latin typeface="Garamond"/>
              </a:rPr>
              <a:t>Mazi is a locally engineered green technology company which hopes to be a vehicle in catalyzing the sustainability of the African transport industry. </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Nairobi, Kenya</a:t>
            </a:r>
          </a:p>
          <a:p>
            <a:pPr lvl="1"/>
            <a:r>
              <a:rPr lang="en-US" b="1" dirty="0">
                <a:solidFill>
                  <a:schemeClr val="tx1"/>
                </a:solidFill>
                <a:latin typeface="Garamond"/>
              </a:rPr>
              <a:t>JOBS CREATED (Full &amp; Part Time): </a:t>
            </a:r>
            <a:r>
              <a:rPr lang="en-US" dirty="0">
                <a:solidFill>
                  <a:schemeClr val="tx1"/>
                </a:solidFill>
                <a:latin typeface="Garamond"/>
              </a:rPr>
              <a:t>2</a:t>
            </a:r>
            <a:endParaRPr lang="en-US" dirty="0">
              <a:solidFill>
                <a:schemeClr val="tx1"/>
              </a:solidFill>
            </a:endParaRPr>
          </a:p>
          <a:p>
            <a:pPr lvl="1"/>
            <a:endParaRPr lang="en-US" dirty="0">
              <a:solidFill>
                <a:schemeClr val="tx1"/>
              </a:solidFill>
              <a:latin typeface="Garamond" panose="02020404030301010803" pitchFamily="18" charset="0"/>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Jesse Forrester</a:t>
            </a:r>
          </a:p>
          <a:p>
            <a:r>
              <a:rPr lang="en-US" sz="1400" b="1" dirty="0">
                <a:solidFill>
                  <a:schemeClr val="tx1"/>
                </a:solidFill>
                <a:latin typeface="Garamond"/>
              </a:rPr>
              <a:t>Website:</a:t>
            </a:r>
            <a:r>
              <a:rPr lang="en-US" sz="1400" dirty="0">
                <a:latin typeface="Garamond" panose="02020404030301010803" pitchFamily="18" charset="0"/>
              </a:rPr>
              <a:t/>
            </a:r>
            <a:br>
              <a:rPr lang="en-US" sz="1400" dirty="0">
                <a:latin typeface="Garamond" panose="02020404030301010803" pitchFamily="18" charset="0"/>
              </a:rPr>
            </a:br>
            <a:r>
              <a:rPr lang="en-ZA" sz="1400" dirty="0">
                <a:solidFill>
                  <a:schemeClr val="tx1"/>
                </a:solidFill>
                <a:latin typeface="Garamond"/>
                <a:hlinkClick r:id="rId8"/>
              </a:rPr>
              <a:t>https://www.linkedin.com/in/jesse-forrester</a:t>
            </a:r>
            <a:r>
              <a:rPr lang="en-ZA" sz="1400" dirty="0">
                <a:solidFill>
                  <a:schemeClr val="tx1"/>
                </a:solidFill>
                <a:latin typeface="Garamond"/>
              </a:rPr>
              <a:t> </a:t>
            </a:r>
          </a:p>
          <a:p>
            <a:r>
              <a:rPr lang="en-ZA" sz="1400" b="1" dirty="0">
                <a:solidFill>
                  <a:schemeClr val="tx1"/>
                </a:solidFill>
                <a:latin typeface="Garamond" panose="02020404030301010803" pitchFamily="18" charset="0"/>
              </a:rPr>
              <a:t>Email: </a:t>
            </a:r>
            <a:r>
              <a:rPr lang="en-ZA" sz="1400" dirty="0">
                <a:latin typeface="Garamond" panose="02020404030301010803" pitchFamily="18" charset="0"/>
                <a:hlinkClick r:id="rId9"/>
              </a:rPr>
              <a:t>Jesse.forrrester@gmail.com</a:t>
            </a:r>
            <a:endParaRPr lang="en-ZA" sz="1400" dirty="0">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4 71323026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148406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E07C67E-0BB8-465D-A56F-2EAB968E18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682" name="think-cell Slide" r:id="rId6" imgW="421" imgH="423" progId="TCLayout.ActiveDocument.1">
                  <p:embed/>
                </p:oleObj>
              </mc:Choice>
              <mc:Fallback>
                <p:oleObj name="think-cell Slide" r:id="rId6" imgW="421" imgH="423" progId="TCLayout.ActiveDocument.1">
                  <p:embed/>
                  <p:pic>
                    <p:nvPicPr>
                      <p:cNvPr id="3" name="Object 2" hidden="1">
                        <a:extLst>
                          <a:ext uri="{FF2B5EF4-FFF2-40B4-BE49-F238E27FC236}">
                            <a16:creationId xmlns:a16="http://schemas.microsoft.com/office/drawing/2014/main" xmlns="" id="{EE07C67E-0BB8-465D-A56F-2EAB968E18A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ED3FC9AC-3D56-491F-B7E5-C3B7EBFB52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F2762129-5C2F-478F-B5D2-BB5AE58819A8}"/>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pic>
        <p:nvPicPr>
          <p:cNvPr id="9" name="Picture 8"/>
          <p:cNvPicPr preferRelativeResize="0">
            <a:picLocks/>
          </p:cNvPicPr>
          <p:nvPr/>
        </p:nvPicPr>
        <p:blipFill rotWithShape="1">
          <a:blip r:embed="rId8" cstate="print">
            <a:extLst>
              <a:ext uri="{28A0092B-C50C-407E-A947-70E740481C1C}">
                <a14:useLocalDpi xmlns:a14="http://schemas.microsoft.com/office/drawing/2010/main" val="0"/>
              </a:ext>
            </a:extLst>
          </a:blip>
          <a:srcRect l="21896" t="6432" r="30098" b="23644"/>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8" name="Title 4"/>
          <p:cNvSpPr>
            <a:spLocks noGrp="1"/>
          </p:cNvSpPr>
          <p:nvPr>
            <p:ph type="title"/>
          </p:nvPr>
        </p:nvSpPr>
        <p:spPr>
          <a:xfrm>
            <a:off x="1007442" y="442489"/>
            <a:ext cx="10536857" cy="609600"/>
          </a:xfrm>
        </p:spPr>
        <p:txBody>
          <a:bodyPr>
            <a:noAutofit/>
          </a:bodyPr>
          <a:lstStyle/>
          <a:p>
            <a:r>
              <a:rPr lang="en-ZA" sz="2800" b="1" dirty="0">
                <a:solidFill>
                  <a:srgbClr val="862624"/>
                </a:solidFill>
              </a:rPr>
              <a:t>Andrew </a:t>
            </a:r>
            <a:r>
              <a:rPr lang="en-ZA" sz="2800" b="1" dirty="0" err="1">
                <a:solidFill>
                  <a:srgbClr val="862624"/>
                </a:solidFill>
              </a:rPr>
              <a:t>Ddembe</a:t>
            </a:r>
            <a:r>
              <a:rPr lang="en-ZA" sz="2800" b="1" dirty="0">
                <a:solidFill>
                  <a:srgbClr val="862624"/>
                </a:solidFill>
              </a:rPr>
              <a:t> – </a:t>
            </a:r>
            <a:r>
              <a:rPr lang="en-ZA" sz="2800" b="1" dirty="0" err="1">
                <a:solidFill>
                  <a:srgbClr val="862624"/>
                </a:solidFill>
              </a:rPr>
              <a:t>MobiKlinic</a:t>
            </a:r>
            <a:r>
              <a:rPr lang="en-ZA" sz="2800" b="1" dirty="0">
                <a:solidFill>
                  <a:srgbClr val="862624"/>
                </a:solidFill>
              </a:rPr>
              <a:t>: Healthcare provider for rural areas</a:t>
            </a:r>
            <a:endParaRPr lang="en-US" sz="2800" b="1" dirty="0">
              <a:solidFill>
                <a:srgbClr val="862624"/>
              </a:solidFill>
            </a:endParaRPr>
          </a:p>
        </p:txBody>
      </p:sp>
      <p:sp>
        <p:nvSpPr>
          <p:cNvPr id="10" name="Rectangle 9"/>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ANDREW</a:t>
            </a:r>
          </a:p>
          <a:p>
            <a:pPr algn="ctr"/>
            <a:r>
              <a:rPr lang="en-US" sz="1400" dirty="0">
                <a:solidFill>
                  <a:srgbClr val="862624"/>
                </a:solidFill>
                <a:latin typeface="Garamond"/>
              </a:rPr>
              <a:t>Andrew recently founded </a:t>
            </a:r>
            <a:r>
              <a:rPr lang="en-US" sz="1400" dirty="0" err="1">
                <a:solidFill>
                  <a:srgbClr val="862624"/>
                </a:solidFill>
                <a:latin typeface="Garamond"/>
              </a:rPr>
              <a:t>MobiKlinic</a:t>
            </a:r>
            <a:r>
              <a:rPr lang="en-US" sz="1400" dirty="0">
                <a:solidFill>
                  <a:srgbClr val="862624"/>
                </a:solidFill>
                <a:latin typeface="Garamond"/>
              </a:rPr>
              <a:t> Uganda with the support of Sandoz (a Novartis division). He was selected as one of the three winners of the 2019 Sandoz Healthcare Access Challenge. Prior to this, he founded a conglomerate of businesses called Heart for the Hurt (textile making, restaurants, and coffee production). His aim is to combat the high rate of unemployment in Uganda by employing young people.</a:t>
            </a:r>
          </a:p>
          <a:p>
            <a:pPr algn="ctr"/>
            <a:endParaRPr lang="en-US" sz="1400" dirty="0">
              <a:solidFill>
                <a:srgbClr val="862624"/>
              </a:solidFill>
              <a:latin typeface="Garamond"/>
            </a:endParaRPr>
          </a:p>
        </p:txBody>
      </p:sp>
      <p:sp>
        <p:nvSpPr>
          <p:cNvPr id="11" name="Rectangle 10"/>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err="1">
                <a:solidFill>
                  <a:schemeClr val="tx1"/>
                </a:solidFill>
                <a:latin typeface="Garamond" panose="02020404030301010803" pitchFamily="18" charset="0"/>
              </a:rPr>
              <a:t>MobiKlinic</a:t>
            </a:r>
            <a:endParaRPr lang="en-ZA"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MobiKlinic</a:t>
            </a:r>
            <a:r>
              <a:rPr lang="en-US" dirty="0">
                <a:solidFill>
                  <a:schemeClr val="tx1"/>
                </a:solidFill>
                <a:latin typeface="Garamond" panose="02020404030301010803" pitchFamily="18" charset="0"/>
              </a:rPr>
              <a:t> Uganda is developing an app that can be used to make emergency appointments via a toll-free number that will be directly linked to a mobile van clinic offering door-to-door services in rural area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68</a:t>
            </a:r>
          </a:p>
        </p:txBody>
      </p:sp>
      <p:sp>
        <p:nvSpPr>
          <p:cNvPr id="12" name="Rectangular Callout 11"/>
          <p:cNvSpPr/>
          <p:nvPr/>
        </p:nvSpPr>
        <p:spPr>
          <a:xfrm>
            <a:off x="1049480" y="4698125"/>
            <a:ext cx="3217718"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Andrew </a:t>
            </a:r>
            <a:r>
              <a:rPr lang="en-ZA" sz="1400" dirty="0" err="1">
                <a:solidFill>
                  <a:schemeClr val="tx1"/>
                </a:solidFill>
                <a:latin typeface="Garamond" panose="02020404030301010803" pitchFamily="18" charset="0"/>
              </a:rPr>
              <a:t>Ddembe</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9"/>
              </a:rPr>
              <a:t>https://ug.linkedin.com/in/andrew-ddembe-a55524124</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rPr>
              <a:t>ddembe.andrew@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6 700 218 686</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055321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D4F2BD99-1B36-4538-977B-9C93807BCB15}"/>
              </a:ext>
            </a:extLst>
          </p:cNvPr>
          <p:cNvGraphicFramePr>
            <a:graphicFrameLocks noChangeAspect="1"/>
          </p:cNvGraphicFramePr>
          <p:nvPr>
            <p:custDataLst>
              <p:tags r:id="rId2"/>
            </p:custDataLst>
            <p:extLst>
              <p:ext uri="{D42A27DB-BD31-4B8C-83A1-F6EECF244321}">
                <p14:modId xmlns:p14="http://schemas.microsoft.com/office/powerpoint/2010/main" val="3046331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653"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F6A64E82-212D-47FB-B7DA-A548762A299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58190CC9-40EF-42F5-84E1-885DAB279A84}"/>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1419403" cy="792346"/>
          </a:xfrm>
        </p:spPr>
        <p:txBody>
          <a:bodyPr>
            <a:noAutofit/>
          </a:bodyPr>
          <a:lstStyle/>
          <a:p>
            <a:r>
              <a:rPr lang="en-ZA" sz="2600" b="1" dirty="0">
                <a:solidFill>
                  <a:srgbClr val="862624"/>
                </a:solidFill>
              </a:rPr>
              <a:t>Noah </a:t>
            </a:r>
            <a:r>
              <a:rPr lang="en-ZA" sz="2600" b="1" dirty="0" err="1">
                <a:solidFill>
                  <a:srgbClr val="862624"/>
                </a:solidFill>
              </a:rPr>
              <a:t>Walakira</a:t>
            </a:r>
            <a:r>
              <a:rPr lang="en-ZA" sz="2600" b="1" dirty="0">
                <a:solidFill>
                  <a:srgbClr val="862624"/>
                </a:solidFill>
              </a:rPr>
              <a:t> – Namirembe Sweater Makers: School uniform manufacturer</a:t>
            </a:r>
            <a:endParaRPr lang="en-US" sz="26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t="6339" b="6339"/>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NOAH</a:t>
            </a:r>
          </a:p>
          <a:p>
            <a:pPr algn="ctr"/>
            <a:r>
              <a:rPr lang="en-ZA" sz="1400" dirty="0">
                <a:solidFill>
                  <a:srgbClr val="862624"/>
                </a:solidFill>
                <a:latin typeface="Garamond" panose="02020404030301010803" pitchFamily="18" charset="0"/>
              </a:rPr>
              <a:t>Noah founded the Namirembe Sweater Makers as he was eager to tackle the growing unemployment in his community. Using his knitting skills that were taught to him by his late grandmother, and by using the earnings that he generated from petty jobs, he started a community-based organization that knits sweaters to combat unemployment. Some of the earnings generated from knitting sweaters were used to put himself and other employees through school. </a:t>
            </a:r>
            <a:endParaRPr lang="en-US" sz="14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Namirembe Sweater Makers</a:t>
            </a: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Namirembe</a:t>
            </a:r>
            <a:r>
              <a:rPr lang="en-US" dirty="0">
                <a:solidFill>
                  <a:schemeClr val="tx1"/>
                </a:solidFill>
                <a:latin typeface="Garamond" panose="02020404030301010803" pitchFamily="18" charset="0"/>
              </a:rPr>
              <a:t> Sweater Makers</a:t>
            </a:r>
          </a:p>
          <a:p>
            <a:pPr lvl="1"/>
            <a:r>
              <a:rPr lang="en-US" dirty="0">
                <a:solidFill>
                  <a:schemeClr val="tx1"/>
                </a:solidFill>
                <a:latin typeface="Garamond" panose="02020404030301010803" pitchFamily="18" charset="0"/>
              </a:rPr>
              <a:t>is a registered community based organization that consists of youth and women producing and selling sweaters, head gears, scuffs and other crafts such as paper-neck-laces, bundles, bags and basket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20</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Noah </a:t>
            </a:r>
            <a:r>
              <a:rPr lang="en-ZA" sz="1400" dirty="0" err="1">
                <a:solidFill>
                  <a:schemeClr val="tx1"/>
                </a:solidFill>
                <a:latin typeface="Garamond" panose="02020404030301010803" pitchFamily="18" charset="0"/>
              </a:rPr>
              <a:t>Walakira</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youtu.be/XRnnpsLnY3o</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noah.walakira@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0 576 036 87</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090475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25B7719D-3C2B-40D4-8C6F-3E4F29754D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5552"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25B7719D-3C2B-40D4-8C6F-3E4F29754D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7A05F19-D8E1-4D88-99C8-485383B762E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8DC48605-A4E6-4D8C-9F2A-411B55C8244D}"/>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Isaac </a:t>
            </a:r>
            <a:r>
              <a:rPr lang="en-ZA" sz="2800" b="1" dirty="0" err="1">
                <a:solidFill>
                  <a:srgbClr val="862624"/>
                </a:solidFill>
              </a:rPr>
              <a:t>Oboth</a:t>
            </a:r>
            <a:r>
              <a:rPr lang="en-ZA" sz="2800" b="1" dirty="0">
                <a:solidFill>
                  <a:srgbClr val="862624"/>
                </a:solidFill>
              </a:rPr>
              <a:t> – African Storytellers: Film-makers</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9170" r="3398" b="9972"/>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862624"/>
              </a:solidFill>
              <a:latin typeface="Garamond" panose="02020404030301010803" pitchFamily="18" charset="0"/>
            </a:endParaRPr>
          </a:p>
          <a:p>
            <a:pPr algn="ctr"/>
            <a:r>
              <a:rPr lang="en-US" sz="1600" b="1" dirty="0">
                <a:solidFill>
                  <a:srgbClr val="862624"/>
                </a:solidFill>
                <a:latin typeface="Garamond" panose="02020404030301010803" pitchFamily="18" charset="0"/>
              </a:rPr>
              <a:t>ABOUT ISAAC</a:t>
            </a:r>
          </a:p>
          <a:p>
            <a:pPr algn="ctr"/>
            <a:r>
              <a:rPr lang="en-ZA" sz="1400" dirty="0">
                <a:solidFill>
                  <a:srgbClr val="862624"/>
                </a:solidFill>
                <a:latin typeface="Garamond"/>
              </a:rPr>
              <a:t>Isaac’s love for photography and media began during his high school prom when he decided to make a digital alumni album. Since then, his business now has clients such as USAID, UNDP, Althea, African Leadership Academy and Coca Cola. One of its most celebrated works is Discover Uganda - a ten-part series that was very successful in multiple African countries and was later aired by a US cable outlet.</a:t>
            </a:r>
            <a:r>
              <a:rPr lang="en-ZA" sz="1600" dirty="0">
                <a:latin typeface="Garamond" panose="02020404030301010803" pitchFamily="18" charset="0"/>
              </a:rPr>
              <a:t/>
            </a:r>
            <a:br>
              <a:rPr lang="en-ZA" sz="1600" dirty="0">
                <a:latin typeface="Garamond" panose="02020404030301010803" pitchFamily="18" charset="0"/>
              </a:rPr>
            </a:br>
            <a:endParaRPr lang="en-US" sz="16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African Storytellers</a:t>
            </a:r>
          </a:p>
          <a:p>
            <a:pPr lvl="1"/>
            <a:r>
              <a:rPr lang="en-US" b="1" dirty="0">
                <a:solidFill>
                  <a:schemeClr val="tx1"/>
                </a:solidFill>
                <a:latin typeface="Garamond"/>
              </a:rPr>
              <a:t>BUSINESS ACTIVITIES: </a:t>
            </a:r>
            <a:r>
              <a:rPr lang="en-US" dirty="0">
                <a:solidFill>
                  <a:schemeClr val="tx1"/>
                </a:solidFill>
                <a:latin typeface="Garamond"/>
              </a:rPr>
              <a:t>African Storytellers produces positive content about Africa and Africans, distributing this content with international mainstream media.</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0</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Isaac </a:t>
            </a:r>
            <a:r>
              <a:rPr lang="en-ZA" sz="1400" dirty="0" err="1">
                <a:solidFill>
                  <a:schemeClr val="tx1"/>
                </a:solidFill>
                <a:latin typeface="Garamond" panose="02020404030301010803" pitchFamily="18" charset="0"/>
              </a:rPr>
              <a:t>Oboth</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www.africanstorytellers.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ioboth@africanstorytellers.com</a:t>
            </a:r>
            <a:endParaRPr lang="en-ZA" sz="1400" dirty="0">
              <a:solidFill>
                <a:schemeClr val="tx1"/>
              </a:solidFill>
              <a:latin typeface="Garamond" panose="02020404030301010803" pitchFamily="18" charset="0"/>
            </a:endParaRPr>
          </a:p>
          <a:p>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6 793 33703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834309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DC0EF4A2-D212-4D1B-8BFF-B2280C0A9D8B}"/>
              </a:ext>
            </a:extLst>
          </p:cNvPr>
          <p:cNvGraphicFramePr>
            <a:graphicFrameLocks noChangeAspect="1"/>
          </p:cNvGraphicFramePr>
          <p:nvPr>
            <p:custDataLst>
              <p:tags r:id="rId2"/>
            </p:custDataLst>
            <p:extLst>
              <p:ext uri="{D42A27DB-BD31-4B8C-83A1-F6EECF244321}">
                <p14:modId xmlns:p14="http://schemas.microsoft.com/office/powerpoint/2010/main" val="265041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677"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B302F153-0265-4CCE-81F8-CF0BD513C63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F8A4013C-BBC1-4D50-A5CD-D1D73B47BD18}"/>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err="1">
                <a:solidFill>
                  <a:srgbClr val="862624"/>
                </a:solidFill>
              </a:rPr>
              <a:t>Satta</a:t>
            </a:r>
            <a:r>
              <a:rPr lang="en-ZA" sz="2800" b="1" dirty="0">
                <a:solidFill>
                  <a:srgbClr val="862624"/>
                </a:solidFill>
              </a:rPr>
              <a:t> Wahab – </a:t>
            </a:r>
            <a:r>
              <a:rPr lang="en-ZA" sz="2800" b="1" dirty="0" err="1">
                <a:solidFill>
                  <a:srgbClr val="862624"/>
                </a:solidFill>
              </a:rPr>
              <a:t>Naz</a:t>
            </a:r>
            <a:r>
              <a:rPr lang="en-ZA" sz="2800" b="1" dirty="0">
                <a:solidFill>
                  <a:srgbClr val="862624"/>
                </a:solidFill>
              </a:rPr>
              <a:t> Naturals: Natural hair-care manufacturer</a:t>
            </a:r>
            <a:endParaRPr lang="en-US" sz="2800" b="1" dirty="0">
              <a:solidFill>
                <a:srgbClr val="862624"/>
              </a:solidFill>
            </a:endParaRPr>
          </a:p>
        </p:txBody>
      </p:sp>
      <p:pic>
        <p:nvPicPr>
          <p:cNvPr id="2" name="Picture 1"/>
          <p:cNvPicPr preferRelativeResize="0">
            <a:picLocks/>
          </p:cNvPicPr>
          <p:nvPr/>
        </p:nvPicPr>
        <p:blipFill rotWithShape="1">
          <a:blip r:embed="rId7" cstate="print">
            <a:extLst>
              <a:ext uri="{28A0092B-C50C-407E-A947-70E740481C1C}">
                <a14:useLocalDpi xmlns:a14="http://schemas.microsoft.com/office/drawing/2010/main" val="0"/>
              </a:ext>
            </a:extLst>
          </a:blip>
          <a:srcRect l="2524" t="5761" r="5022" b="5761"/>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SATTA</a:t>
            </a:r>
          </a:p>
          <a:p>
            <a:pPr algn="ctr"/>
            <a:r>
              <a:rPr lang="en-ZA" sz="1400" dirty="0" err="1">
                <a:solidFill>
                  <a:srgbClr val="862624"/>
                </a:solidFill>
                <a:latin typeface="Garamond" panose="02020404030301010803" pitchFamily="18" charset="0"/>
              </a:rPr>
              <a:t>Satta</a:t>
            </a:r>
            <a:r>
              <a:rPr lang="en-ZA" sz="1400" dirty="0">
                <a:solidFill>
                  <a:srgbClr val="862624"/>
                </a:solidFill>
                <a:latin typeface="Garamond" panose="02020404030301010803" pitchFamily="18" charset="0"/>
              </a:rPr>
              <a:t> has built one of Liberia’s fast-rising companies, </a:t>
            </a:r>
            <a:r>
              <a:rPr lang="en-ZA" sz="1400" dirty="0" err="1">
                <a:solidFill>
                  <a:srgbClr val="862624"/>
                </a:solidFill>
                <a:latin typeface="Garamond" panose="02020404030301010803" pitchFamily="18" charset="0"/>
              </a:rPr>
              <a:t>Naz</a:t>
            </a:r>
            <a:r>
              <a:rPr lang="en-ZA" sz="1400" dirty="0">
                <a:solidFill>
                  <a:srgbClr val="862624"/>
                </a:solidFill>
                <a:latin typeface="Garamond" panose="02020404030301010803" pitchFamily="18" charset="0"/>
              </a:rPr>
              <a:t> Naturals, a natural hair-care manufacturing company. </a:t>
            </a:r>
            <a:r>
              <a:rPr lang="en-US" sz="1400" dirty="0">
                <a:solidFill>
                  <a:srgbClr val="862624"/>
                </a:solidFill>
                <a:latin typeface="Garamond" panose="02020404030301010803" pitchFamily="18" charset="0"/>
              </a:rPr>
              <a:t>She noticed there was a gap in the market, after she ‘went natural’ herself. Trying to find the products she needed for this transition, she realized that the products for natural hair in Liberia were all imported and super expensive so she did her research and started making her own products. She has a BSc majoring in Economics and Supply Chain Management from the United Methodist University.</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a:solidFill>
                  <a:schemeClr val="tx1"/>
                </a:solidFill>
                <a:latin typeface="Garamond"/>
              </a:rPr>
              <a:t>Naz Naturals</a:t>
            </a:r>
          </a:p>
          <a:p>
            <a:pPr lvl="1"/>
            <a:r>
              <a:rPr lang="en-US" b="1" dirty="0">
                <a:solidFill>
                  <a:schemeClr val="tx1"/>
                </a:solidFill>
                <a:latin typeface="Garamond"/>
              </a:rPr>
              <a:t>BUSINESS ACTIVITIES: </a:t>
            </a:r>
            <a:r>
              <a:rPr lang="en-US" dirty="0">
                <a:solidFill>
                  <a:schemeClr val="tx1"/>
                </a:solidFill>
                <a:latin typeface="Garamond"/>
              </a:rPr>
              <a:t>Naz Naturals </a:t>
            </a:r>
            <a:r>
              <a:rPr lang="en-ZA" dirty="0">
                <a:solidFill>
                  <a:schemeClr val="tx1"/>
                </a:solidFill>
                <a:latin typeface="Garamond"/>
              </a:rPr>
              <a:t>produces organic natural Shea-based hair care products to unleash the beauty and confidence in everyone that uses them. </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Liberi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7</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Satta</a:t>
            </a:r>
            <a:r>
              <a:rPr lang="en-ZA" sz="1400" dirty="0">
                <a:solidFill>
                  <a:schemeClr val="tx1"/>
                </a:solidFill>
                <a:latin typeface="Garamond" panose="02020404030301010803" pitchFamily="18" charset="0"/>
              </a:rPr>
              <a:t> Wahab </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naznaturals.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ction="ppaction://hlinksldjump"/>
              </a:rPr>
              <a:t>satta@naznaturals.com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1 77 035 4442</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520409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43F4BB41-3DB3-46AA-B453-EAF32DAC54B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6913"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43F4BB41-3DB3-46AA-B453-EAF32DAC54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62E1D86E-4362-4BCC-8572-D89F882C6CD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708212D7-2CE6-4AC6-B833-AA2E25180B68}"/>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err="1">
                <a:solidFill>
                  <a:srgbClr val="862624"/>
                </a:solidFill>
              </a:rPr>
              <a:t>Thando</a:t>
            </a:r>
            <a:r>
              <a:rPr lang="en-ZA" sz="2800" b="1" dirty="0">
                <a:solidFill>
                  <a:srgbClr val="862624"/>
                </a:solidFill>
              </a:rPr>
              <a:t> </a:t>
            </a:r>
            <a:r>
              <a:rPr lang="en-ZA" sz="2800" b="1" dirty="0" err="1">
                <a:solidFill>
                  <a:srgbClr val="862624"/>
                </a:solidFill>
              </a:rPr>
              <a:t>Hlongwane</a:t>
            </a:r>
            <a:r>
              <a:rPr lang="en-ZA" sz="2800" b="1" dirty="0">
                <a:solidFill>
                  <a:srgbClr val="862624"/>
                </a:solidFill>
              </a:rPr>
              <a:t>– </a:t>
            </a:r>
            <a:r>
              <a:rPr lang="en-ZA" sz="2800" b="1" dirty="0" err="1">
                <a:solidFill>
                  <a:srgbClr val="862624"/>
                </a:solidFill>
              </a:rPr>
              <a:t>Nisa</a:t>
            </a:r>
            <a:r>
              <a:rPr lang="en-ZA" sz="2800" b="1" dirty="0">
                <a:solidFill>
                  <a:srgbClr val="862624"/>
                </a:solidFill>
              </a:rPr>
              <a:t> Finance: Automating loan applications</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3819" t="3739" r="3819" b="7782"/>
          <a:stretch/>
        </p:blipFill>
        <p:spPr>
          <a:xfrm>
            <a:off x="1293713"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THANDO</a:t>
            </a:r>
          </a:p>
          <a:p>
            <a:pPr algn="ctr"/>
            <a:r>
              <a:rPr lang="en-US" sz="1400" dirty="0" err="1">
                <a:solidFill>
                  <a:srgbClr val="862624"/>
                </a:solidFill>
                <a:latin typeface="Garamond" panose="02020404030301010803" pitchFamily="18" charset="0"/>
              </a:rPr>
              <a:t>Thando</a:t>
            </a:r>
            <a:r>
              <a:rPr lang="en-US" sz="1400" dirty="0">
                <a:solidFill>
                  <a:srgbClr val="862624"/>
                </a:solidFill>
                <a:latin typeface="Garamond" panose="02020404030301010803" pitchFamily="18" charset="0"/>
              </a:rPr>
              <a:t> is a Computer Science graduate who is passionate about using technology to solve African problems. He </a:t>
            </a:r>
            <a:r>
              <a:rPr lang="en-US" sz="1400" dirty="0" err="1">
                <a:solidFill>
                  <a:srgbClr val="862624"/>
                </a:solidFill>
                <a:latin typeface="Garamond" panose="02020404030301010803" pitchFamily="18" charset="0"/>
              </a:rPr>
              <a:t>abelieves</a:t>
            </a:r>
            <a:r>
              <a:rPr lang="en-US" sz="1400" dirty="0">
                <a:solidFill>
                  <a:srgbClr val="862624"/>
                </a:solidFill>
                <a:latin typeface="Garamond" panose="02020404030301010803" pitchFamily="18" charset="0"/>
              </a:rPr>
              <a:t> that small and medium enterprises (SMEs) hold the power to grow the South African economy and in using technology to help SMEs grow.</a:t>
            </a:r>
          </a:p>
          <a:p>
            <a:pPr algn="ctr"/>
            <a:endParaRPr lang="en-US" sz="1400" dirty="0">
              <a:solidFill>
                <a:srgbClr val="862624"/>
              </a:solidFill>
            </a:endParaRPr>
          </a:p>
        </p:txBody>
      </p:sp>
      <p:sp>
        <p:nvSpPr>
          <p:cNvPr id="3" name="Rectangle 2"/>
          <p:cNvSpPr/>
          <p:nvPr/>
        </p:nvSpPr>
        <p:spPr>
          <a:xfrm>
            <a:off x="450545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Nisa</a:t>
            </a:r>
            <a:r>
              <a:rPr lang="en-US" dirty="0">
                <a:solidFill>
                  <a:schemeClr val="tx1"/>
                </a:solidFill>
                <a:latin typeface="Garamond" panose="02020404030301010803" pitchFamily="18" charset="0"/>
              </a:rPr>
              <a:t> Finance</a:t>
            </a:r>
          </a:p>
          <a:p>
            <a:pPr lvl="1"/>
            <a:r>
              <a:rPr lang="en-US" b="1" dirty="0">
                <a:solidFill>
                  <a:schemeClr val="tx1"/>
                </a:solidFill>
                <a:latin typeface="Garamond"/>
              </a:rPr>
              <a:t>BUSINESS ACTIVITIES: </a:t>
            </a:r>
            <a:r>
              <a:rPr lang="en-US" dirty="0" err="1">
                <a:solidFill>
                  <a:schemeClr val="tx1"/>
                </a:solidFill>
                <a:latin typeface="Garamond"/>
              </a:rPr>
              <a:t>Nisa</a:t>
            </a:r>
            <a:r>
              <a:rPr lang="en-US" dirty="0">
                <a:solidFill>
                  <a:schemeClr val="tx1"/>
                </a:solidFill>
                <a:latin typeface="Garamond"/>
              </a:rPr>
              <a:t> Finance automates key steps in the loan application process on behalf of financiers to decrease costs, risks and to improve the client experience for small business borrower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South Africa</a:t>
            </a:r>
          </a:p>
          <a:p>
            <a:pPr lvl="1"/>
            <a:r>
              <a:rPr lang="en-US" b="1" dirty="0">
                <a:solidFill>
                  <a:schemeClr val="tx1"/>
                </a:solidFill>
                <a:latin typeface="Garamond"/>
              </a:rPr>
              <a:t>JOBS CREATED (Full &amp; Part Time): </a:t>
            </a:r>
            <a:r>
              <a:rPr lang="en-US" dirty="0">
                <a:solidFill>
                  <a:schemeClr val="tx1"/>
                </a:solidFill>
                <a:latin typeface="Garamond"/>
              </a:rPr>
              <a:t>4</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Thando</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Hlongwane</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nisafinance.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thandolwethumz@live.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7 62 401 6153</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64413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18FE9AFA-EF55-4000-9B55-0ADA05004FD0}"/>
              </a:ext>
            </a:extLst>
          </p:cNvPr>
          <p:cNvGraphicFramePr>
            <a:graphicFrameLocks noChangeAspect="1"/>
          </p:cNvGraphicFramePr>
          <p:nvPr>
            <p:custDataLst>
              <p:tags r:id="rId2"/>
            </p:custDataLst>
            <p:extLst>
              <p:ext uri="{D42A27DB-BD31-4B8C-83A1-F6EECF244321}">
                <p14:modId xmlns:p14="http://schemas.microsoft.com/office/powerpoint/2010/main" val="94535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701"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681FF1BD-B362-43F8-9490-4189B6F40F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38FEC9E7-DA00-4ECE-B6F4-DB4349F03A91}"/>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Benedict </a:t>
            </a:r>
            <a:r>
              <a:rPr lang="en-ZA" sz="2800" b="1" dirty="0" err="1">
                <a:solidFill>
                  <a:srgbClr val="862624"/>
                </a:solidFill>
              </a:rPr>
              <a:t>Ampofo</a:t>
            </a:r>
            <a:r>
              <a:rPr lang="en-ZA" sz="2800" b="1" dirty="0">
                <a:solidFill>
                  <a:srgbClr val="862624"/>
                </a:solidFill>
              </a:rPr>
              <a:t> – Nova </a:t>
            </a:r>
            <a:r>
              <a:rPr lang="en-ZA" sz="2800" b="1" dirty="0" err="1">
                <a:solidFill>
                  <a:srgbClr val="862624"/>
                </a:solidFill>
              </a:rPr>
              <a:t>Agrisystems</a:t>
            </a:r>
            <a:r>
              <a:rPr lang="en-ZA" sz="2800" b="1" dirty="0">
                <a:solidFill>
                  <a:srgbClr val="862624"/>
                </a:solidFill>
              </a:rPr>
              <a:t>: Agriculture</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t="10216" b="7490"/>
          <a:stretch/>
        </p:blipFill>
        <p:spPr>
          <a:xfrm>
            <a:off x="1293711" y="1879720"/>
            <a:ext cx="2729249"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BENEDICT</a:t>
            </a:r>
          </a:p>
          <a:p>
            <a:pPr algn="ctr"/>
            <a:r>
              <a:rPr lang="en-ZA" sz="1400" dirty="0">
                <a:solidFill>
                  <a:srgbClr val="862624"/>
                </a:solidFill>
                <a:latin typeface="Garamond" panose="02020404030301010803" pitchFamily="18" charset="0"/>
              </a:rPr>
              <a:t>Benedict is a medical school graduate from Ghana and has always seen himself as a budding social entrepreneur. Coming from a low-income family, he has an itching desire to help families like his. His love for agriculture was heightened while visiting Ghanaian farms and this resulted in him starting Project </a:t>
            </a:r>
            <a:r>
              <a:rPr lang="en-ZA" sz="1400" dirty="0" err="1">
                <a:solidFill>
                  <a:srgbClr val="862624"/>
                </a:solidFill>
                <a:latin typeface="Garamond" panose="02020404030301010803" pitchFamily="18" charset="0"/>
              </a:rPr>
              <a:t>Kiriku</a:t>
            </a:r>
            <a:r>
              <a:rPr lang="en-ZA" sz="1400" dirty="0">
                <a:solidFill>
                  <a:srgbClr val="862624"/>
                </a:solidFill>
                <a:latin typeface="Garamond" panose="02020404030301010803" pitchFamily="18" charset="0"/>
              </a:rPr>
              <a:t> (his demonstration farm).</a:t>
            </a:r>
          </a:p>
          <a:p>
            <a:pPr algn="ctr"/>
            <a:endParaRPr lang="en-US" sz="14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Nova </a:t>
            </a:r>
            <a:r>
              <a:rPr lang="en-US" dirty="0" err="1">
                <a:solidFill>
                  <a:schemeClr val="tx1"/>
                </a:solidFill>
                <a:latin typeface="Garamond" panose="02020404030301010803" pitchFamily="18" charset="0"/>
              </a:rPr>
              <a:t>Agrisystems</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a:solidFill>
                  <a:schemeClr val="tx1"/>
                </a:solidFill>
                <a:latin typeface="Garamond"/>
              </a:rPr>
              <a:t>Nova </a:t>
            </a:r>
            <a:r>
              <a:rPr lang="en-US" dirty="0" err="1">
                <a:solidFill>
                  <a:schemeClr val="tx1"/>
                </a:solidFill>
                <a:latin typeface="Garamond"/>
              </a:rPr>
              <a:t>Agrisystems</a:t>
            </a:r>
            <a:r>
              <a:rPr lang="en-US" dirty="0">
                <a:solidFill>
                  <a:schemeClr val="tx1"/>
                </a:solidFill>
                <a:latin typeface="Garamond"/>
              </a:rPr>
              <a:t> is a</a:t>
            </a:r>
            <a:r>
              <a:rPr lang="en-ZA" dirty="0">
                <a:solidFill>
                  <a:schemeClr val="tx1"/>
                </a:solidFill>
                <a:latin typeface="Garamond"/>
              </a:rPr>
              <a:t> demonstration farm designed to create sustainable agricultural communities by providing the requisite skills, knowledge, and innovative technology, helping participating farmers improve their agricultural yield through practice based learning.</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Ghan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7</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Benedict </a:t>
            </a:r>
            <a:r>
              <a:rPr lang="en-ZA" sz="1400" dirty="0" err="1">
                <a:solidFill>
                  <a:schemeClr val="tx1"/>
                </a:solidFill>
                <a:latin typeface="Garamond" panose="02020404030301010803" pitchFamily="18" charset="0"/>
              </a:rPr>
              <a:t>Ampofo</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facebook.com/novaagrisystems</a:t>
            </a:r>
            <a:r>
              <a:rPr lang="en-ZA" sz="1400" dirty="0">
                <a:solidFill>
                  <a:schemeClr val="tx1"/>
                </a:solidFill>
                <a:latin typeface="Garamond" panose="02020404030301010803" pitchFamily="18" charset="0"/>
              </a:rPr>
              <a:t> </a:t>
            </a:r>
            <a:endParaRPr lang="en-ZA" sz="1400" b="1"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ampofo.bka@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3 138 2059</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9844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11710FC9-C9C3-40E3-BF1B-C6E549833BC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239"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11710FC9-C9C3-40E3-BF1B-C6E549833B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87A09F1D-72AC-43A1-822E-10218D7258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DA9204DA-7F32-4050-A23A-731E237F5509}"/>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800" b="1" dirty="0">
                <a:solidFill>
                  <a:srgbClr val="862624"/>
                </a:solidFill>
                <a:latin typeface="Garamond"/>
              </a:rPr>
              <a:t>George </a:t>
            </a:r>
            <a:r>
              <a:rPr lang="en-ZA" sz="2800" b="1" dirty="0" err="1">
                <a:solidFill>
                  <a:srgbClr val="862624"/>
                </a:solidFill>
                <a:latin typeface="Garamond"/>
              </a:rPr>
              <a:t>Bakka</a:t>
            </a:r>
            <a:r>
              <a:rPr lang="en-ZA" sz="2800" b="1" dirty="0">
                <a:solidFill>
                  <a:srgbClr val="862624"/>
                </a:solidFill>
                <a:latin typeface="Garamond"/>
              </a:rPr>
              <a:t>– Patasente: </a:t>
            </a:r>
            <a:r>
              <a:rPr lang="en-ZA" sz="2800" b="1" dirty="0" err="1">
                <a:solidFill>
                  <a:srgbClr val="862624"/>
                </a:solidFill>
                <a:latin typeface="Garamond"/>
              </a:rPr>
              <a:t>Neobank</a:t>
            </a:r>
            <a:r>
              <a:rPr lang="en-ZA" sz="2800" b="1" dirty="0">
                <a:solidFill>
                  <a:srgbClr val="862624"/>
                </a:solidFill>
                <a:latin typeface="Garamond"/>
              </a:rPr>
              <a:t> for businesses</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3816" t="3315" r="3816" b="7817"/>
          <a:stretch/>
        </p:blipFill>
        <p:spPr>
          <a:xfrm>
            <a:off x="1293711" y="1879720"/>
            <a:ext cx="2729251"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Garamond" panose="02020404030301010803" pitchFamily="18" charset="0"/>
              </a:rPr>
              <a:t>ABOUT GEORGE</a:t>
            </a:r>
          </a:p>
          <a:p>
            <a:pPr algn="ctr"/>
            <a:r>
              <a:rPr lang="en-US" sz="1400" dirty="0">
                <a:solidFill>
                  <a:schemeClr val="accent1"/>
                </a:solidFill>
                <a:latin typeface="Garamond" panose="02020404030301010803" pitchFamily="18" charset="0"/>
              </a:rPr>
              <a:t>George is a passionate Afrocentric entrepreneur who over the last five years has led initiatives geared towards providing finance and business development support to SMEs in East Africa. He is also the CEO and Founder of Angels Initiative, a leading impact investment firm in East Africa that is turning ideas into high impact Pan-African companies.</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Patasente</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err="1">
                <a:solidFill>
                  <a:schemeClr val="tx1"/>
                </a:solidFill>
                <a:latin typeface="Garamond"/>
              </a:rPr>
              <a:t>Patasente</a:t>
            </a:r>
            <a:r>
              <a:rPr lang="en-US" dirty="0">
                <a:solidFill>
                  <a:schemeClr val="tx1"/>
                </a:solidFill>
                <a:latin typeface="Garamond"/>
              </a:rPr>
              <a:t> is a </a:t>
            </a:r>
            <a:r>
              <a:rPr lang="en-US" dirty="0" err="1">
                <a:solidFill>
                  <a:schemeClr val="tx1"/>
                </a:solidFill>
                <a:latin typeface="Garamond"/>
              </a:rPr>
              <a:t>a</a:t>
            </a:r>
            <a:r>
              <a:rPr lang="en-US" dirty="0">
                <a:solidFill>
                  <a:schemeClr val="tx1"/>
                </a:solidFill>
                <a:latin typeface="Garamond"/>
              </a:rPr>
              <a:t> </a:t>
            </a:r>
            <a:r>
              <a:rPr lang="en-US" dirty="0" err="1">
                <a:solidFill>
                  <a:schemeClr val="tx1"/>
                </a:solidFill>
                <a:latin typeface="Garamond"/>
              </a:rPr>
              <a:t>neobank</a:t>
            </a:r>
            <a:r>
              <a:rPr lang="en-US" dirty="0">
                <a:solidFill>
                  <a:schemeClr val="tx1"/>
                </a:solidFill>
                <a:latin typeface="Garamond"/>
              </a:rPr>
              <a:t> for small and medium sized enterprises (SMEs), traders and freelancers, aimed to make trade easier in Africa. </a:t>
            </a:r>
          </a:p>
          <a:p>
            <a:pPr lvl="1"/>
            <a:r>
              <a:rPr lang="en-US" b="1" dirty="0">
                <a:solidFill>
                  <a:schemeClr val="tx1"/>
                </a:solidFill>
                <a:latin typeface="Garamond"/>
              </a:rPr>
              <a:t>BUSINESS LOCATION: </a:t>
            </a:r>
            <a:r>
              <a:rPr lang="en-US" dirty="0">
                <a:solidFill>
                  <a:schemeClr val="tx1"/>
                </a:solidFill>
                <a:latin typeface="Garamond"/>
              </a:rPr>
              <a:t>Uganda</a:t>
            </a:r>
            <a:endParaRPr lang="en-US" dirty="0">
              <a:solidFill>
                <a:schemeClr val="tx1"/>
              </a:solidFill>
            </a:endParaRPr>
          </a:p>
          <a:p>
            <a:pPr lvl="1"/>
            <a:r>
              <a:rPr lang="en-US" b="1" dirty="0">
                <a:solidFill>
                  <a:schemeClr val="tx1"/>
                </a:solidFill>
                <a:latin typeface="Garamond"/>
              </a:rPr>
              <a:t>JOBS CREATED (Full &amp; Part Time): </a:t>
            </a:r>
            <a:r>
              <a:rPr lang="en-US" dirty="0">
                <a:solidFill>
                  <a:schemeClr val="tx1"/>
                </a:solidFill>
                <a:latin typeface="Garamond"/>
              </a:rPr>
              <a:t>8</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George </a:t>
            </a:r>
            <a:r>
              <a:rPr lang="en-ZA" sz="1400" dirty="0" err="1">
                <a:solidFill>
                  <a:schemeClr val="tx1"/>
                </a:solidFill>
                <a:latin typeface="Garamond" panose="02020404030301010803" pitchFamily="18" charset="0"/>
              </a:rPr>
              <a:t>Bakka</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patasente.com</a:t>
            </a:r>
            <a:r>
              <a:rPr lang="en-ZA" sz="1400" dirty="0">
                <a:solidFill>
                  <a:schemeClr val="tx1"/>
                </a:solidFill>
                <a:latin typeface="Garamond" panose="02020404030301010803" pitchFamily="18" charset="0"/>
              </a:rPr>
              <a:t> </a:t>
            </a:r>
          </a:p>
          <a:p>
            <a:r>
              <a:rPr lang="en-ZA" sz="1400" dirty="0">
                <a:solidFill>
                  <a:schemeClr val="tx1"/>
                </a:solidFill>
                <a:latin typeface="Garamond" panose="02020404030301010803" pitchFamily="18" charset="0"/>
              </a:rPr>
              <a:t>E</a:t>
            </a:r>
            <a:r>
              <a:rPr lang="en-ZA" sz="1400" b="1" dirty="0">
                <a:solidFill>
                  <a:schemeClr val="tx1"/>
                </a:solidFill>
                <a:latin typeface="Garamond" panose="02020404030301010803" pitchFamily="18" charset="0"/>
              </a:rPr>
              <a:t>mail: </a:t>
            </a:r>
            <a:r>
              <a:rPr lang="en-ZA" sz="1400" dirty="0">
                <a:solidFill>
                  <a:schemeClr val="tx1"/>
                </a:solidFill>
                <a:latin typeface="Garamond" panose="02020404030301010803" pitchFamily="18" charset="0"/>
                <a:hlinkClick r:id="rId9"/>
              </a:rPr>
              <a:t>bakkarian@patasente.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5 657 336 601</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735601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ED90F32-649A-4BC0-8AD7-D26B27CF0D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611" name="think-cell Slide" r:id="rId6" imgW="421" imgH="423" progId="TCLayout.ActiveDocument.1">
                  <p:embed/>
                </p:oleObj>
              </mc:Choice>
              <mc:Fallback>
                <p:oleObj name="think-cell Slide" r:id="rId6" imgW="421" imgH="423" progId="TCLayout.ActiveDocument.1">
                  <p:embed/>
                  <p:pic>
                    <p:nvPicPr>
                      <p:cNvPr id="3" name="Object 2" hidden="1">
                        <a:extLst>
                          <a:ext uri="{FF2B5EF4-FFF2-40B4-BE49-F238E27FC236}">
                            <a16:creationId xmlns:a16="http://schemas.microsoft.com/office/drawing/2014/main" xmlns="" id="{0ED90F32-649A-4BC0-8AD7-D26B27CF0D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62AB185-B292-466A-B4F6-0F516C897E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AAB3A431-D3BF-402B-8FC4-786E7D928A90}"/>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8" name="Title 4"/>
          <p:cNvSpPr>
            <a:spLocks noGrp="1"/>
          </p:cNvSpPr>
          <p:nvPr>
            <p:ph type="title"/>
          </p:nvPr>
        </p:nvSpPr>
        <p:spPr>
          <a:xfrm>
            <a:off x="1007442" y="481818"/>
            <a:ext cx="10536857" cy="609600"/>
          </a:xfrm>
        </p:spPr>
        <p:txBody>
          <a:bodyPr>
            <a:noAutofit/>
          </a:bodyPr>
          <a:lstStyle/>
          <a:p>
            <a:r>
              <a:rPr lang="en-ZA" sz="2800" b="1" dirty="0" err="1"/>
              <a:t>Chukwuwezam</a:t>
            </a:r>
            <a:r>
              <a:rPr lang="en-ZA" sz="2800" b="1" dirty="0"/>
              <a:t> </a:t>
            </a:r>
            <a:r>
              <a:rPr lang="en-ZA" sz="2800" b="1" dirty="0" err="1"/>
              <a:t>Obanor</a:t>
            </a:r>
            <a:r>
              <a:rPr lang="en-ZA" sz="2800" b="1" dirty="0"/>
              <a:t> </a:t>
            </a:r>
            <a:r>
              <a:rPr lang="en-ZA" sz="2800" b="1" dirty="0">
                <a:solidFill>
                  <a:srgbClr val="862624"/>
                </a:solidFill>
              </a:rPr>
              <a:t>– </a:t>
            </a:r>
            <a:r>
              <a:rPr lang="en-ZA" sz="2800" b="1" dirty="0" err="1">
                <a:solidFill>
                  <a:srgbClr val="862624"/>
                </a:solidFill>
              </a:rPr>
              <a:t>PrepClass</a:t>
            </a:r>
            <a:r>
              <a:rPr lang="en-ZA" sz="2800" b="1" dirty="0">
                <a:solidFill>
                  <a:srgbClr val="862624"/>
                </a:solidFill>
              </a:rPr>
              <a:t>: Tutoring services</a:t>
            </a:r>
            <a:endParaRPr lang="en-US" sz="2800" b="1" dirty="0">
              <a:solidFill>
                <a:srgbClr val="862624"/>
              </a:solidFill>
            </a:endParaRPr>
          </a:p>
        </p:txBody>
      </p:sp>
      <p:pic>
        <p:nvPicPr>
          <p:cNvPr id="9" name="Picture 8"/>
          <p:cNvPicPr preferRelativeResize="0">
            <a:picLocks/>
          </p:cNvPicPr>
          <p:nvPr/>
        </p:nvPicPr>
        <p:blipFill rotWithShape="1">
          <a:blip r:embed="rId8">
            <a:extLst>
              <a:ext uri="{28A0092B-C50C-407E-A947-70E740481C1C}">
                <a14:useLocalDpi xmlns:a14="http://schemas.microsoft.com/office/drawing/2010/main" val="0"/>
              </a:ext>
            </a:extLst>
          </a:blip>
          <a:srcRect l="1062" t="3205" r="1062" b="11756"/>
          <a:stretch/>
        </p:blipFill>
        <p:spPr>
          <a:xfrm>
            <a:off x="1293713"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10" name="Rectangle 9"/>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CHUKWUWEZAM</a:t>
            </a:r>
          </a:p>
          <a:p>
            <a:pPr algn="ctr"/>
            <a:r>
              <a:rPr lang="en-US" sz="1400" dirty="0" err="1">
                <a:solidFill>
                  <a:srgbClr val="862624"/>
                </a:solidFill>
                <a:latin typeface="Garamond" panose="02020404030301010803" pitchFamily="18" charset="0"/>
              </a:rPr>
              <a:t>Chukwuwezam</a:t>
            </a:r>
            <a:r>
              <a:rPr lang="en-US" sz="1400" dirty="0">
                <a:solidFill>
                  <a:srgbClr val="862624"/>
                </a:solidFill>
                <a:latin typeface="Garamond" panose="02020404030301010803" pitchFamily="18" charset="0"/>
              </a:rPr>
              <a:t> built an online platform to aid Nigerian high school students in revision for national exams. At 21 years, his passion for solving problems resulted in building the framework for an online education platform which is now known as </a:t>
            </a:r>
            <a:r>
              <a:rPr lang="en-US" sz="1400" dirty="0" err="1">
                <a:solidFill>
                  <a:srgbClr val="862624"/>
                </a:solidFill>
                <a:latin typeface="Garamond" panose="02020404030301010803" pitchFamily="18" charset="0"/>
              </a:rPr>
              <a:t>PrepClass</a:t>
            </a:r>
            <a:r>
              <a:rPr lang="en-US" sz="1400" dirty="0">
                <a:solidFill>
                  <a:srgbClr val="862624"/>
                </a:solidFill>
                <a:latin typeface="Garamond" panose="02020404030301010803" pitchFamily="18" charset="0"/>
              </a:rPr>
              <a:t>. He was recognized by Forbes as one of the Top 30 Most Promising Young Entrepreneurs in Africa in 2016.</a:t>
            </a:r>
          </a:p>
        </p:txBody>
      </p:sp>
      <p:sp>
        <p:nvSpPr>
          <p:cNvPr id="11" name="Rectangle 10"/>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err="1">
                <a:solidFill>
                  <a:schemeClr val="tx1"/>
                </a:solidFill>
                <a:latin typeface="Garamond" panose="02020404030301010803" pitchFamily="18" charset="0"/>
              </a:rPr>
              <a:t>PrepClass</a:t>
            </a:r>
            <a:endParaRPr lang="en-ZA"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Prepclass</a:t>
            </a:r>
            <a:r>
              <a:rPr lang="en-US" dirty="0">
                <a:solidFill>
                  <a:schemeClr val="tx1"/>
                </a:solidFill>
                <a:latin typeface="Garamond" panose="02020404030301010803" pitchFamily="18" charset="0"/>
              </a:rPr>
              <a:t> is an </a:t>
            </a:r>
            <a:r>
              <a:rPr lang="en-US" dirty="0" err="1">
                <a:solidFill>
                  <a:schemeClr val="tx1"/>
                </a:solidFill>
                <a:latin typeface="Garamond" panose="02020404030301010803" pitchFamily="18" charset="0"/>
              </a:rPr>
              <a:t>edutech</a:t>
            </a:r>
            <a:r>
              <a:rPr lang="en-US" dirty="0">
                <a:solidFill>
                  <a:schemeClr val="tx1"/>
                </a:solidFill>
                <a:latin typeface="Garamond" panose="02020404030301010803" pitchFamily="18" charset="0"/>
              </a:rPr>
              <a:t> company that connects learners with qualified tutors. They also register students for IELTS, provide in-</a:t>
            </a:r>
            <a:r>
              <a:rPr lang="en-US" dirty="0" err="1">
                <a:solidFill>
                  <a:schemeClr val="tx1"/>
                </a:solidFill>
                <a:latin typeface="Garamond" panose="02020404030301010803" pitchFamily="18" charset="0"/>
              </a:rPr>
              <a:t>centre</a:t>
            </a:r>
            <a:r>
              <a:rPr lang="en-US" dirty="0">
                <a:solidFill>
                  <a:schemeClr val="tx1"/>
                </a:solidFill>
                <a:latin typeface="Garamond" panose="02020404030301010803" pitchFamily="18" charset="0"/>
              </a:rPr>
              <a:t> tutorials for IELTS, GMAT, GRE, TOEFL and SAT examinations across various </a:t>
            </a:r>
            <a:r>
              <a:rPr lang="en-US" dirty="0" err="1">
                <a:solidFill>
                  <a:schemeClr val="tx1"/>
                </a:solidFill>
                <a:latin typeface="Garamond" panose="02020404030301010803" pitchFamily="18" charset="0"/>
              </a:rPr>
              <a:t>centres</a:t>
            </a:r>
            <a:r>
              <a:rPr lang="en-US" dirty="0">
                <a:solidFill>
                  <a:schemeClr val="tx1"/>
                </a:solidFill>
                <a:latin typeface="Garamond" panose="02020404030301010803" pitchFamily="18" charset="0"/>
              </a:rPr>
              <a:t> in Lago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Nigeria</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700</a:t>
            </a:r>
          </a:p>
        </p:txBody>
      </p:sp>
      <p:sp>
        <p:nvSpPr>
          <p:cNvPr id="12" name="Rectangular Callout 11"/>
          <p:cNvSpPr/>
          <p:nvPr/>
        </p:nvSpPr>
        <p:spPr>
          <a:xfrm>
            <a:off x="1219198" y="4698125"/>
            <a:ext cx="3047999"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Chukwuwezam</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Obanor</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9"/>
              </a:rPr>
              <a:t>https://prepclass.com.ng/</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u="sng" dirty="0">
                <a:latin typeface="Garamond" panose="02020404030301010803" pitchFamily="18" charset="0"/>
                <a:hlinkClick r:id="rId10" action="ppaction://hlinksldjump"/>
              </a:rPr>
              <a:t>wezam@prepclassng.com</a:t>
            </a:r>
            <a:r>
              <a:rPr lang="en-ZA" sz="1400" dirty="0">
                <a:solidFill>
                  <a:schemeClr val="tx1"/>
                </a:solidFill>
                <a:latin typeface="Garamond" panose="02020404030301010803" pitchFamily="18" charset="0"/>
                <a:hlinkClick r:id="rId10" action="ppaction://hlinksldjump"/>
              </a:rPr>
              <a:t>  </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4 708 439 9842</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062598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261C444A-70DC-4446-844B-9E6B9E38040A}"/>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2" y="481818"/>
            <a:ext cx="10536857" cy="609600"/>
          </a:xfrm>
        </p:spPr>
        <p:txBody>
          <a:bodyPr>
            <a:normAutofit/>
          </a:bodyPr>
          <a:lstStyle/>
          <a:p>
            <a:r>
              <a:rPr lang="en-ZA" sz="2800" b="1" dirty="0"/>
              <a:t>David </a:t>
            </a:r>
            <a:r>
              <a:rPr lang="en-ZA" sz="2800" b="1" dirty="0" err="1"/>
              <a:t>Morfaw</a:t>
            </a:r>
            <a:r>
              <a:rPr lang="en-ZA" sz="2800" b="1" dirty="0"/>
              <a:t> </a:t>
            </a:r>
            <a:r>
              <a:rPr lang="en-ZA" sz="2800" b="1" dirty="0">
                <a:solidFill>
                  <a:srgbClr val="862624"/>
                </a:solidFill>
              </a:rPr>
              <a:t>– </a:t>
            </a:r>
            <a:r>
              <a:rPr lang="en-ZA" sz="2800" b="1" dirty="0" err="1"/>
              <a:t>Poult</a:t>
            </a:r>
            <a:r>
              <a:rPr lang="en-ZA" sz="2800" b="1" dirty="0"/>
              <a:t> Vault: </a:t>
            </a:r>
            <a:r>
              <a:rPr lang="en-US" sz="2800" b="1" dirty="0">
                <a:solidFill>
                  <a:srgbClr val="862624"/>
                </a:solidFill>
              </a:rPr>
              <a:t>Poultry services company</a:t>
            </a:r>
          </a:p>
        </p:txBody>
      </p:sp>
      <p:pic>
        <p:nvPicPr>
          <p:cNvPr id="2" name="Picture 1"/>
          <p:cNvPicPr preferRelativeResize="0">
            <a:picLocks/>
          </p:cNvPicPr>
          <p:nvPr/>
        </p:nvPicPr>
        <p:blipFill rotWithShape="1">
          <a:blip r:embed="rId3">
            <a:extLst>
              <a:ext uri="{28A0092B-C50C-407E-A947-70E740481C1C}">
                <a14:useLocalDpi xmlns:a14="http://schemas.microsoft.com/office/drawing/2010/main" val="0"/>
              </a:ext>
            </a:extLst>
          </a:blip>
          <a:srcRect l="19847" t="5996" r="20030" b="4458"/>
          <a:stretch/>
        </p:blipFill>
        <p:spPr>
          <a:xfrm>
            <a:off x="1293940" y="1900580"/>
            <a:ext cx="2728800" cy="2372400"/>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DAVID</a:t>
            </a:r>
          </a:p>
          <a:p>
            <a:pPr algn="ctr"/>
            <a:r>
              <a:rPr lang="en-US" sz="1400" dirty="0">
                <a:solidFill>
                  <a:srgbClr val="862624"/>
                </a:solidFill>
                <a:latin typeface="Garamond"/>
              </a:rPr>
              <a:t>David is the founder and managing director of </a:t>
            </a:r>
            <a:r>
              <a:rPr lang="en-US" sz="1400" dirty="0" err="1">
                <a:solidFill>
                  <a:srgbClr val="862624"/>
                </a:solidFill>
                <a:latin typeface="Garamond"/>
              </a:rPr>
              <a:t>Poult</a:t>
            </a:r>
            <a:r>
              <a:rPr lang="en-US" sz="1400" dirty="0">
                <a:solidFill>
                  <a:srgbClr val="862624"/>
                </a:solidFill>
                <a:latin typeface="Garamond"/>
              </a:rPr>
              <a:t> Vault. He has received national and international awards because of the success of </a:t>
            </a:r>
            <a:r>
              <a:rPr lang="en-US" sz="1400" dirty="0" err="1">
                <a:solidFill>
                  <a:srgbClr val="862624"/>
                </a:solidFill>
                <a:latin typeface="Garamond"/>
              </a:rPr>
              <a:t>Poult</a:t>
            </a:r>
            <a:r>
              <a:rPr lang="en-US" sz="1400" dirty="0">
                <a:solidFill>
                  <a:srgbClr val="862624"/>
                </a:solidFill>
                <a:latin typeface="Garamond"/>
              </a:rPr>
              <a:t> Vault. David decided to start </a:t>
            </a:r>
            <a:r>
              <a:rPr lang="en-US" sz="1400" dirty="0" err="1">
                <a:solidFill>
                  <a:srgbClr val="862624"/>
                </a:solidFill>
                <a:latin typeface="Garamond"/>
              </a:rPr>
              <a:t>Poult</a:t>
            </a:r>
            <a:r>
              <a:rPr lang="en-US" sz="1400" dirty="0">
                <a:solidFill>
                  <a:srgbClr val="862624"/>
                </a:solidFill>
                <a:latin typeface="Garamond"/>
              </a:rPr>
              <a:t> Vault when he </a:t>
            </a:r>
            <a:r>
              <a:rPr lang="en-US" sz="1400" dirty="0" err="1">
                <a:solidFill>
                  <a:srgbClr val="862624"/>
                </a:solidFill>
                <a:latin typeface="Garamond"/>
              </a:rPr>
              <a:t>realised</a:t>
            </a:r>
            <a:r>
              <a:rPr lang="en-US" sz="1400" dirty="0">
                <a:solidFill>
                  <a:srgbClr val="862624"/>
                </a:solidFill>
                <a:latin typeface="Garamond"/>
              </a:rPr>
              <a:t> that the poultry sector could provide job opportunities for people living in his community.</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err="1">
                <a:solidFill>
                  <a:schemeClr val="tx1"/>
                </a:solidFill>
                <a:latin typeface="Garamond" panose="02020404030301010803" pitchFamily="18" charset="0"/>
              </a:rPr>
              <a:t>Poult</a:t>
            </a:r>
            <a:r>
              <a:rPr lang="en-ZA" dirty="0">
                <a:solidFill>
                  <a:schemeClr val="tx1"/>
                </a:solidFill>
                <a:latin typeface="Garamond" panose="02020404030301010803" pitchFamily="18" charset="0"/>
              </a:rPr>
              <a:t> Vault</a:t>
            </a:r>
          </a:p>
          <a:p>
            <a:pPr lvl="1"/>
            <a:r>
              <a:rPr lang="en-US" b="1" dirty="0">
                <a:solidFill>
                  <a:schemeClr val="tx1"/>
                </a:solidFill>
                <a:latin typeface="Garamond"/>
              </a:rPr>
              <a:t>BUSINESS ACTIVITIES: </a:t>
            </a:r>
            <a:r>
              <a:rPr lang="en-US" dirty="0" err="1">
                <a:solidFill>
                  <a:schemeClr val="tx1"/>
                </a:solidFill>
                <a:latin typeface="Garamond"/>
              </a:rPr>
              <a:t>Poult</a:t>
            </a:r>
            <a:r>
              <a:rPr lang="en-US" dirty="0">
                <a:solidFill>
                  <a:schemeClr val="tx1"/>
                </a:solidFill>
                <a:latin typeface="Garamond"/>
              </a:rPr>
              <a:t> Vault is a poultry company that provides good quality and affordable poultry inputs to small-scale farmer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Cameroon</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4</a:t>
            </a:r>
          </a:p>
        </p:txBody>
      </p:sp>
      <p:sp>
        <p:nvSpPr>
          <p:cNvPr id="4" name="Rectangular Callout 3"/>
          <p:cNvSpPr/>
          <p:nvPr/>
        </p:nvSpPr>
        <p:spPr>
          <a:xfrm>
            <a:off x="1007442" y="4698125"/>
            <a:ext cx="3259756"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David </a:t>
            </a:r>
            <a:r>
              <a:rPr lang="en-ZA" sz="1400" dirty="0" err="1">
                <a:solidFill>
                  <a:schemeClr val="tx1"/>
                </a:solidFill>
                <a:latin typeface="Garamond" panose="02020404030301010803" pitchFamily="18" charset="0"/>
              </a:rPr>
              <a:t>Morfaw</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US" sz="1400" dirty="0">
                <a:solidFill>
                  <a:schemeClr val="tx1"/>
                </a:solidFill>
                <a:latin typeface="Garamond" panose="02020404030301010803" pitchFamily="18" charset="0"/>
                <a:hlinkClick r:id="rId4"/>
              </a:rPr>
              <a:t>www.poultvault.com</a:t>
            </a:r>
            <a:r>
              <a:rPr lang="en-US" sz="1400" dirty="0">
                <a:solidFill>
                  <a:schemeClr val="tx1"/>
                </a:solidFill>
                <a:latin typeface="Garamond" panose="02020404030301010803" pitchFamily="18" charset="0"/>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5"/>
              </a:rPr>
              <a:t>dempseymorfaw@yahoo.com</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7 650 093 050</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10732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D48AEFCD-2E1C-497A-940E-20F226E68601}"/>
              </a:ext>
            </a:extLst>
          </p:cNvPr>
          <p:cNvGraphicFramePr>
            <a:graphicFrameLocks noChangeAspect="1"/>
          </p:cNvGraphicFramePr>
          <p:nvPr>
            <p:custDataLst>
              <p:tags r:id="rId2"/>
            </p:custDataLst>
            <p:extLst>
              <p:ext uri="{D42A27DB-BD31-4B8C-83A1-F6EECF244321}">
                <p14:modId xmlns:p14="http://schemas.microsoft.com/office/powerpoint/2010/main" val="317468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2534"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7213F1A9-8560-4BA1-85C7-C9F6E890F6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8AD2091C-1783-4044-A3CB-D6A104492D4B}"/>
              </a:ext>
            </a:extLst>
          </p:cNvPr>
          <p:cNvSpPr/>
          <p:nvPr/>
        </p:nvSpPr>
        <p:spPr>
          <a:xfrm>
            <a:off x="105551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rmAutofit/>
          </a:bodyPr>
          <a:lstStyle/>
          <a:p>
            <a:r>
              <a:rPr lang="en-ZA" sz="2600" b="1" dirty="0">
                <a:solidFill>
                  <a:srgbClr val="862624"/>
                </a:solidFill>
                <a:latin typeface="Garamond"/>
              </a:rPr>
              <a:t>Raghda Medhat – </a:t>
            </a:r>
            <a:r>
              <a:rPr lang="en-ZA" sz="2600" b="1" dirty="0" err="1">
                <a:solidFill>
                  <a:srgbClr val="862624"/>
                </a:solidFill>
                <a:latin typeface="Garamond"/>
              </a:rPr>
              <a:t>Remoteplatz</a:t>
            </a:r>
            <a:r>
              <a:rPr lang="en-ZA" sz="2600" b="1" dirty="0">
                <a:solidFill>
                  <a:srgbClr val="862624"/>
                </a:solidFill>
                <a:latin typeface="Garamond"/>
              </a:rPr>
              <a:t> Egypt: Digital recruitment platform</a:t>
            </a:r>
            <a:endParaRPr lang="en-US" sz="2600" b="1" dirty="0">
              <a:solidFill>
                <a:srgbClr val="862624"/>
              </a:solidFill>
              <a:latin typeface="Garamond"/>
            </a:endParaRPr>
          </a:p>
        </p:txBody>
      </p:sp>
      <p:pic>
        <p:nvPicPr>
          <p:cNvPr id="2" name="Picture 1"/>
          <p:cNvPicPr preferRelativeResize="0">
            <a:picLocks/>
          </p:cNvPicPr>
          <p:nvPr/>
        </p:nvPicPr>
        <p:blipFill rotWithShape="1">
          <a:blip r:embed="rId7">
            <a:extLst>
              <a:ext uri="{28A0092B-C50C-407E-A947-70E740481C1C}">
                <a14:useLocalDpi xmlns:a14="http://schemas.microsoft.com/office/drawing/2010/main" val="0"/>
              </a:ext>
            </a:extLst>
          </a:blip>
          <a:srcRect l="7826" t="3535" r="4734" b="8048"/>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RAGHDA</a:t>
            </a:r>
          </a:p>
          <a:p>
            <a:pPr algn="ctr"/>
            <a:r>
              <a:rPr lang="en-US" sz="1400" dirty="0" err="1">
                <a:solidFill>
                  <a:srgbClr val="862624"/>
                </a:solidFill>
                <a:latin typeface="Garamond"/>
              </a:rPr>
              <a:t>Raghda’s</a:t>
            </a:r>
            <a:r>
              <a:rPr lang="en-US" sz="1400" dirty="0">
                <a:solidFill>
                  <a:srgbClr val="862624"/>
                </a:solidFill>
                <a:latin typeface="Garamond"/>
              </a:rPr>
              <a:t> has a Bachelor’s degree majoring in Economics from Cairo University. During her time at university, she was heavily involved with activities and clubs that empowered students to gain knowledge and practical experience. Her time spent working in a few start-ups gave her the idea to start a business that connects talent with global opportunities through remote work. </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Remoteplatz</a:t>
            </a:r>
            <a:r>
              <a:rPr lang="en-US" dirty="0">
                <a:solidFill>
                  <a:schemeClr val="tx1"/>
                </a:solidFill>
                <a:latin typeface="Garamond" panose="02020404030301010803" pitchFamily="18" charset="0"/>
              </a:rPr>
              <a:t> Egypt</a:t>
            </a: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Remoteplatz</a:t>
            </a:r>
            <a:r>
              <a:rPr lang="en-US" dirty="0">
                <a:solidFill>
                  <a:schemeClr val="tx1"/>
                </a:solidFill>
                <a:latin typeface="Garamond" panose="02020404030301010803" pitchFamily="18" charset="0"/>
              </a:rPr>
              <a:t> connects software engineers who are seeking work experience with international early-stage start-ups through practical remote internships and job opportunities.</a:t>
            </a:r>
            <a:r>
              <a:rPr lang="en-US" dirty="0"/>
              <a:t>.</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Egypt</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2</a:t>
            </a:r>
          </a:p>
        </p:txBody>
      </p:sp>
      <p:sp>
        <p:nvSpPr>
          <p:cNvPr id="4" name="Rectangular Callout 3"/>
          <p:cNvSpPr/>
          <p:nvPr/>
        </p:nvSpPr>
        <p:spPr>
          <a:xfrm>
            <a:off x="105551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Raghda Medhat</a:t>
            </a:r>
          </a:p>
          <a:p>
            <a:r>
              <a:rPr lang="en-ZA" sz="1400" b="1" dirty="0">
                <a:solidFill>
                  <a:schemeClr val="tx1"/>
                </a:solidFill>
                <a:latin typeface="Garamond"/>
              </a:rPr>
              <a:t>Website: </a:t>
            </a:r>
            <a:r>
              <a:rPr lang="en-ZA" sz="1400" dirty="0">
                <a:solidFill>
                  <a:schemeClr val="tx1"/>
                </a:solidFill>
                <a:latin typeface="Garamond"/>
                <a:hlinkClick r:id="rId8"/>
              </a:rPr>
              <a:t>https://www.remoteplatz.com</a:t>
            </a:r>
            <a:r>
              <a:rPr lang="en-ZA" sz="1400" dirty="0">
                <a:solidFill>
                  <a:schemeClr val="tx1"/>
                </a:solidFill>
                <a:latin typeface="Garamond"/>
              </a:rPr>
              <a:t> </a:t>
            </a:r>
          </a:p>
          <a:p>
            <a:r>
              <a:rPr lang="en-ZA" sz="1400" b="1" dirty="0">
                <a:solidFill>
                  <a:schemeClr val="tx1"/>
                </a:solidFill>
                <a:latin typeface="Garamond"/>
              </a:rPr>
              <a:t>Email: </a:t>
            </a:r>
            <a:r>
              <a:rPr lang="en-ZA" sz="1400" dirty="0">
                <a:solidFill>
                  <a:schemeClr val="tx1"/>
                </a:solidFill>
                <a:latin typeface="Garamond"/>
                <a:hlinkClick r:id="rId9"/>
              </a:rPr>
              <a:t>raghdamadhat12@gmail.com</a:t>
            </a:r>
            <a:r>
              <a:rPr lang="en-ZA" sz="1400" dirty="0">
                <a:solidFill>
                  <a:schemeClr val="tx1"/>
                </a:solidFill>
                <a:latin typeface="Garamond"/>
                <a:hlinkClick r:id="rId10" action="ppaction://hlinksldjump"/>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0 111 481 1055</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2202616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8AD2091C-1783-4044-A3CB-D6A104492D4B}"/>
              </a:ext>
            </a:extLst>
          </p:cNvPr>
          <p:cNvSpPr/>
          <p:nvPr/>
        </p:nvSpPr>
        <p:spPr>
          <a:xfrm>
            <a:off x="105551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681" t="1321" r="2040" b="33599"/>
          <a:stretch/>
        </p:blipFill>
        <p:spPr>
          <a:xfrm>
            <a:off x="1299970" y="1877961"/>
            <a:ext cx="2728800" cy="2314776"/>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5" name="Title 4"/>
          <p:cNvSpPr>
            <a:spLocks noGrp="1"/>
          </p:cNvSpPr>
          <p:nvPr>
            <p:ph type="title"/>
          </p:nvPr>
        </p:nvSpPr>
        <p:spPr>
          <a:xfrm>
            <a:off x="1007442" y="481818"/>
            <a:ext cx="10740058" cy="609600"/>
          </a:xfrm>
        </p:spPr>
        <p:txBody>
          <a:bodyPr>
            <a:normAutofit/>
          </a:bodyPr>
          <a:lstStyle/>
          <a:p>
            <a:r>
              <a:rPr lang="en-ZA" b="1" dirty="0"/>
              <a:t>Gabriel </a:t>
            </a:r>
            <a:r>
              <a:rPr lang="en-ZA" b="1" dirty="0" err="1"/>
              <a:t>Kombassere</a:t>
            </a:r>
            <a:r>
              <a:rPr lang="en-ZA" b="1" dirty="0"/>
              <a:t> </a:t>
            </a:r>
            <a:r>
              <a:rPr lang="en-ZA" b="1" dirty="0">
                <a:solidFill>
                  <a:srgbClr val="862624"/>
                </a:solidFill>
              </a:rPr>
              <a:t>– </a:t>
            </a:r>
            <a:r>
              <a:rPr lang="en-ZA" b="1" dirty="0" err="1"/>
              <a:t>Ribla</a:t>
            </a:r>
            <a:r>
              <a:rPr lang="en-ZA" b="1" dirty="0"/>
              <a:t> </a:t>
            </a:r>
            <a:r>
              <a:rPr lang="en-ZA" b="1" dirty="0" err="1"/>
              <a:t>Neda</a:t>
            </a:r>
            <a:r>
              <a:rPr lang="en-ZA" b="1" dirty="0"/>
              <a:t>: Organic Food processing</a:t>
            </a:r>
            <a:endParaRPr lang="en-US" b="1" dirty="0">
              <a:solidFill>
                <a:srgbClr val="862624"/>
              </a:solidFill>
            </a:endParaRPr>
          </a:p>
        </p:txBody>
      </p:sp>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862624"/>
              </a:solidFill>
              <a:latin typeface="Garamond" panose="02020404030301010803" pitchFamily="18" charset="0"/>
            </a:endParaRPr>
          </a:p>
          <a:p>
            <a:pPr algn="ctr"/>
            <a:r>
              <a:rPr lang="en-US" sz="1600" b="1" dirty="0">
                <a:solidFill>
                  <a:srgbClr val="862624"/>
                </a:solidFill>
                <a:latin typeface="Garamond" panose="02020404030301010803" pitchFamily="18" charset="0"/>
              </a:rPr>
              <a:t>ABOUT GABRIEL</a:t>
            </a:r>
          </a:p>
          <a:p>
            <a:pPr algn="ctr"/>
            <a:r>
              <a:rPr lang="en-US" sz="1400" dirty="0">
                <a:solidFill>
                  <a:srgbClr val="862624"/>
                </a:solidFill>
                <a:latin typeface="Garamond"/>
              </a:rPr>
              <a:t>Gabriel is a social entrepreneur, who founded </a:t>
            </a:r>
            <a:r>
              <a:rPr lang="en-US" sz="1400" dirty="0" err="1">
                <a:solidFill>
                  <a:srgbClr val="862624"/>
                </a:solidFill>
                <a:latin typeface="Garamond"/>
              </a:rPr>
              <a:t>Ribla</a:t>
            </a:r>
            <a:r>
              <a:rPr lang="en-US" sz="1400" dirty="0">
                <a:solidFill>
                  <a:srgbClr val="862624"/>
                </a:solidFill>
                <a:latin typeface="Garamond"/>
              </a:rPr>
              <a:t> </a:t>
            </a:r>
            <a:r>
              <a:rPr lang="en-US" sz="1400" dirty="0" err="1">
                <a:solidFill>
                  <a:srgbClr val="862624"/>
                </a:solidFill>
                <a:latin typeface="Garamond"/>
              </a:rPr>
              <a:t>Neda</a:t>
            </a:r>
            <a:r>
              <a:rPr lang="en-US" sz="1400" dirty="0">
                <a:solidFill>
                  <a:srgbClr val="862624"/>
                </a:solidFill>
                <a:latin typeface="Garamond"/>
              </a:rPr>
              <a:t> – a community based organization that tackles poverty and hunger in Africa. He founded CJAB, the Club for the youngest authors of Burkina Faso, in 2016 and co-founded GAMEG-</a:t>
            </a:r>
            <a:r>
              <a:rPr lang="en-US" sz="1400" dirty="0" err="1">
                <a:solidFill>
                  <a:srgbClr val="862624"/>
                </a:solidFill>
                <a:latin typeface="Garamond"/>
              </a:rPr>
              <a:t>Zeitschrift</a:t>
            </a:r>
            <a:r>
              <a:rPr lang="en-US" sz="1400" dirty="0">
                <a:solidFill>
                  <a:srgbClr val="862624"/>
                </a:solidFill>
                <a:latin typeface="Garamond"/>
              </a:rPr>
              <a:t> (a student newspaper) in 2018.</a:t>
            </a:r>
            <a:endParaRPr lang="fr-FR" sz="1400" dirty="0">
              <a:solidFill>
                <a:srgbClr val="862624"/>
              </a:solidFill>
              <a:latin typeface="Garamond"/>
            </a:endParaRPr>
          </a:p>
          <a:p>
            <a:pPr algn="ctr"/>
            <a:endParaRPr lang="fr-FR" sz="1400" dirty="0">
              <a:solidFill>
                <a:srgbClr val="862624"/>
              </a:solidFill>
              <a:latin typeface="Garamond"/>
            </a:endParaRPr>
          </a:p>
          <a:p>
            <a:pPr algn="ctr"/>
            <a:endParaRPr lang="en-US" sz="14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fr-FR" dirty="0">
                <a:solidFill>
                  <a:schemeClr val="tx1"/>
                </a:solidFill>
                <a:latin typeface="Garamond" panose="02020404030301010803" pitchFamily="18" charset="0"/>
              </a:rPr>
              <a:t>Ribla </a:t>
            </a:r>
            <a:r>
              <a:rPr lang="fr-FR" dirty="0" err="1">
                <a:solidFill>
                  <a:schemeClr val="tx1"/>
                </a:solidFill>
                <a:latin typeface="Garamond" panose="02020404030301010803" pitchFamily="18" charset="0"/>
              </a:rPr>
              <a:t>Neda</a:t>
            </a:r>
            <a:r>
              <a:rPr lang="fr-FR" dirty="0">
                <a:solidFill>
                  <a:schemeClr val="tx1"/>
                </a:solidFill>
                <a:latin typeface="Garamond" panose="02020404030301010803" pitchFamily="18" charset="0"/>
              </a:rPr>
              <a:t> Burkina Sarl</a:t>
            </a:r>
          </a:p>
          <a:p>
            <a:pPr lvl="1"/>
            <a:r>
              <a:rPr lang="en-US" b="1" dirty="0">
                <a:solidFill>
                  <a:schemeClr val="tx1"/>
                </a:solidFill>
                <a:latin typeface="Garamond"/>
              </a:rPr>
              <a:t>BUSINESS ACTIVITIES: </a:t>
            </a:r>
            <a:r>
              <a:rPr lang="en-US" dirty="0" err="1">
                <a:solidFill>
                  <a:schemeClr val="tx1"/>
                </a:solidFill>
                <a:latin typeface="Garamond"/>
              </a:rPr>
              <a:t>Ribla</a:t>
            </a:r>
            <a:r>
              <a:rPr lang="en-US" dirty="0">
                <a:solidFill>
                  <a:schemeClr val="tx1"/>
                </a:solidFill>
                <a:latin typeface="Garamond"/>
              </a:rPr>
              <a:t> Neda produces and sells organic agricultural products. The business also offers other services such as home farming training, transformation, and the development of e-agriculture website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Burkina Faso</a:t>
            </a:r>
          </a:p>
          <a:p>
            <a:pPr lvl="1"/>
            <a:r>
              <a:rPr lang="en-US" b="1" dirty="0">
                <a:solidFill>
                  <a:schemeClr val="tx1"/>
                </a:solidFill>
                <a:latin typeface="Garamond"/>
              </a:rPr>
              <a:t>JOBS CREATED (Full &amp; Part Time): </a:t>
            </a:r>
            <a:r>
              <a:rPr lang="en-US" dirty="0">
                <a:solidFill>
                  <a:schemeClr val="tx1"/>
                </a:solidFill>
                <a:latin typeface="Garamond"/>
              </a:rPr>
              <a:t>60</a:t>
            </a:r>
          </a:p>
        </p:txBody>
      </p:sp>
      <p:sp>
        <p:nvSpPr>
          <p:cNvPr id="4" name="Rectangular Callout 3"/>
          <p:cNvSpPr/>
          <p:nvPr/>
        </p:nvSpPr>
        <p:spPr>
          <a:xfrm>
            <a:off x="1007441" y="4698125"/>
            <a:ext cx="3259757"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Gabriel </a:t>
            </a:r>
            <a:r>
              <a:rPr lang="en-ZA" sz="1400" dirty="0" err="1">
                <a:solidFill>
                  <a:schemeClr val="tx1"/>
                </a:solidFill>
                <a:latin typeface="Garamond" panose="02020404030301010803" pitchFamily="18" charset="0"/>
              </a:rPr>
              <a:t>Kombassere</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3"/>
              </a:rPr>
              <a:t>https://www.facebook.com/Ribla-Neda-Burkina-Sarl-453348081867611/</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4"/>
              </a:rPr>
              <a:t>kombavongoethe@hotmail.fr</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26 712 24 161</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0746602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0F0A9DF0-8405-43CF-A75F-52FB5C3667E5}"/>
              </a:ext>
            </a:extLst>
          </p:cNvPr>
          <p:cNvGraphicFramePr>
            <a:graphicFrameLocks noChangeAspect="1"/>
          </p:cNvGraphicFramePr>
          <p:nvPr>
            <p:custDataLst>
              <p:tags r:id="rId2"/>
            </p:custDataLst>
            <p:extLst>
              <p:ext uri="{D42A27DB-BD31-4B8C-83A1-F6EECF244321}">
                <p14:modId xmlns:p14="http://schemas.microsoft.com/office/powerpoint/2010/main" val="111282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0725"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458BF2A6-891B-4845-8D2C-ABC053C140D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7E384D31-CF2B-44F4-8107-88BD0476B44C}"/>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84" t="-710" r="622" b="12231"/>
          <a:stretch/>
        </p:blipFill>
        <p:spPr>
          <a:xfrm>
            <a:off x="1293711" y="1879720"/>
            <a:ext cx="2729251"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Daniel </a:t>
            </a:r>
            <a:r>
              <a:rPr lang="en-ZA" sz="2800" b="1" dirty="0" err="1">
                <a:solidFill>
                  <a:srgbClr val="862624"/>
                </a:solidFill>
              </a:rPr>
              <a:t>Musika</a:t>
            </a:r>
            <a:r>
              <a:rPr lang="en-ZA" sz="2800" b="1" dirty="0">
                <a:solidFill>
                  <a:srgbClr val="862624"/>
                </a:solidFill>
              </a:rPr>
              <a:t> – </a:t>
            </a:r>
            <a:r>
              <a:rPr lang="en-ZA" sz="2800" b="1" dirty="0" err="1">
                <a:solidFill>
                  <a:srgbClr val="862624"/>
                </a:solidFill>
              </a:rPr>
              <a:t>RideLink</a:t>
            </a:r>
            <a:r>
              <a:rPr lang="en-ZA" sz="2800" b="1" dirty="0">
                <a:solidFill>
                  <a:srgbClr val="862624"/>
                </a:solidFill>
              </a:rPr>
              <a:t>: B2B transport sharing network</a:t>
            </a:r>
            <a:endParaRPr lang="en-US" sz="2800" b="1" dirty="0">
              <a:solidFill>
                <a:srgbClr val="862624"/>
              </a:solidFill>
            </a:endParaRPr>
          </a:p>
        </p:txBody>
      </p:sp>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862624"/>
              </a:solidFill>
              <a:latin typeface="Garamond" panose="02020404030301010803" pitchFamily="18" charset="0"/>
            </a:endParaRPr>
          </a:p>
          <a:p>
            <a:pPr algn="ctr"/>
            <a:endParaRPr lang="en-US" sz="1600" b="1" dirty="0">
              <a:solidFill>
                <a:srgbClr val="862624"/>
              </a:solidFill>
              <a:latin typeface="Garamond" panose="02020404030301010803" pitchFamily="18" charset="0"/>
            </a:endParaRPr>
          </a:p>
          <a:p>
            <a:pPr algn="ctr"/>
            <a:r>
              <a:rPr lang="en-US" sz="1600" b="1" dirty="0">
                <a:solidFill>
                  <a:srgbClr val="862624"/>
                </a:solidFill>
                <a:latin typeface="Garamond" panose="02020404030301010803" pitchFamily="18" charset="0"/>
              </a:rPr>
              <a:t>ABOUT DANIEL</a:t>
            </a:r>
          </a:p>
          <a:p>
            <a:pPr algn="ctr"/>
            <a:r>
              <a:rPr lang="en-US" sz="1400" dirty="0">
                <a:solidFill>
                  <a:srgbClr val="862624"/>
                </a:solidFill>
                <a:latin typeface="Garamond"/>
              </a:rPr>
              <a:t>Daniel has five years of experience in the transportation industry (this includes a year working for Uber Technologies). He is also a co-founder of Transporter, a leading logistics company that provides deliveries for e-commerce businesses. As a community role model, he carries out environmental sustainability activities to offset the emissions of his transportation activities. His ambition is to expand the business to hire more youth through new customer acquisition, fleet expansion, and completion of an online transportation booking mobile application and system.</a:t>
            </a:r>
          </a:p>
          <a:p>
            <a:pPr algn="ctr"/>
            <a:endParaRPr lang="en-US" sz="1600" dirty="0">
              <a:solidFill>
                <a:srgbClr val="862624"/>
              </a:solidFill>
              <a:latin typeface="Garamond"/>
            </a:endParaRPr>
          </a:p>
          <a:p>
            <a:pPr algn="ctr"/>
            <a:endParaRPr lang="en-US" sz="16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endParaRPr lang="en-US" b="1"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RideLink</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err="1">
                <a:solidFill>
                  <a:schemeClr val="tx1"/>
                </a:solidFill>
                <a:latin typeface="Garamond"/>
              </a:rPr>
              <a:t>RideLink</a:t>
            </a:r>
            <a:r>
              <a:rPr lang="en-US" dirty="0">
                <a:solidFill>
                  <a:schemeClr val="tx1"/>
                </a:solidFill>
                <a:latin typeface="Garamond"/>
              </a:rPr>
              <a:t> is a ride-sharing platform that offers tailor-made transport solutions to SMEs and corporates in emerging market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21</a:t>
            </a:r>
          </a:p>
          <a:p>
            <a:pPr lvl="1"/>
            <a:endParaRPr lang="en-US" dirty="0">
              <a:solidFill>
                <a:schemeClr val="tx1"/>
              </a:solidFill>
              <a:latin typeface="Garamond" panose="02020404030301010803" pitchFamily="18" charset="0"/>
            </a:endParaRPr>
          </a:p>
          <a:p>
            <a:pPr lvl="1"/>
            <a:endParaRPr lang="en-US" dirty="0">
              <a:solidFill>
                <a:schemeClr val="tx1"/>
              </a:solidFill>
              <a:latin typeface="Garamond" panose="02020404030301010803" pitchFamily="18" charset="0"/>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Daniel </a:t>
            </a:r>
            <a:r>
              <a:rPr lang="en-ZA" sz="1400" dirty="0" err="1">
                <a:solidFill>
                  <a:schemeClr val="tx1"/>
                </a:solidFill>
                <a:latin typeface="Garamond" panose="02020404030301010803" pitchFamily="18" charset="0"/>
              </a:rPr>
              <a:t>Mukisa</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ride-link.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ction="ppaction://hlinksldjump"/>
              </a:rPr>
              <a:t>Daniel@ride-link.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6 706 525 830</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66306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B11DC001-DE6C-4026-B572-E20700B73409}"/>
              </a:ext>
            </a:extLst>
          </p:cNvPr>
          <p:cNvGraphicFramePr>
            <a:graphicFrameLocks noChangeAspect="1"/>
          </p:cNvGraphicFramePr>
          <p:nvPr>
            <p:custDataLst>
              <p:tags r:id="rId2"/>
            </p:custDataLst>
            <p:extLst>
              <p:ext uri="{D42A27DB-BD31-4B8C-83A1-F6EECF244321}">
                <p14:modId xmlns:p14="http://schemas.microsoft.com/office/powerpoint/2010/main" val="204744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558"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882CEA9D-9EF9-4982-880C-F2115B28FE0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766659B4-0893-41E7-9AD2-615D780140DF}"/>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500" b="1" dirty="0">
                <a:solidFill>
                  <a:srgbClr val="862624"/>
                </a:solidFill>
              </a:rPr>
              <a:t>Mahmood </a:t>
            </a:r>
            <a:r>
              <a:rPr lang="en-ZA" sz="2500" b="1" dirty="0" err="1">
                <a:solidFill>
                  <a:srgbClr val="862624"/>
                </a:solidFill>
              </a:rPr>
              <a:t>Oyewo</a:t>
            </a:r>
            <a:r>
              <a:rPr lang="en-ZA" sz="2500" b="1" dirty="0">
                <a:solidFill>
                  <a:srgbClr val="862624"/>
                </a:solidFill>
              </a:rPr>
              <a:t> – </a:t>
            </a:r>
            <a:r>
              <a:rPr lang="en-ZA" sz="2500" b="1" dirty="0" err="1">
                <a:solidFill>
                  <a:srgbClr val="862624"/>
                </a:solidFill>
              </a:rPr>
              <a:t>RubiQube</a:t>
            </a:r>
            <a:r>
              <a:rPr lang="en-ZA" sz="2500" b="1" dirty="0">
                <a:solidFill>
                  <a:srgbClr val="862624"/>
                </a:solidFill>
              </a:rPr>
              <a:t>: Engagement-based advertising platform</a:t>
            </a:r>
            <a:endParaRPr lang="en-US" sz="25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2589" r="2598" b="21575"/>
          <a:stretch/>
        </p:blipFill>
        <p:spPr>
          <a:xfrm>
            <a:off x="1293711" y="1879720"/>
            <a:ext cx="2729249"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MAHMOOD</a:t>
            </a:r>
          </a:p>
          <a:p>
            <a:pPr algn="ctr"/>
            <a:r>
              <a:rPr lang="en-US" sz="1400" dirty="0">
                <a:solidFill>
                  <a:srgbClr val="862624"/>
                </a:solidFill>
                <a:latin typeface="Garamond" panose="02020404030301010803" pitchFamily="18" charset="0"/>
              </a:rPr>
              <a:t>Mahmood studied Technology Entrepreneurship at Stanford University, Digital Marketing at Colombia Business School (Emeritus Institute of Management), and a BSc in Computer Engineering at Obafemi </a:t>
            </a:r>
            <a:r>
              <a:rPr lang="en-US" sz="1400" dirty="0" err="1">
                <a:solidFill>
                  <a:srgbClr val="862624"/>
                </a:solidFill>
                <a:latin typeface="Garamond" panose="02020404030301010803" pitchFamily="18" charset="0"/>
              </a:rPr>
              <a:t>Awolowo</a:t>
            </a:r>
            <a:r>
              <a:rPr lang="en-US" sz="1400" dirty="0">
                <a:solidFill>
                  <a:srgbClr val="862624"/>
                </a:solidFill>
                <a:latin typeface="Garamond" panose="02020404030301010803" pitchFamily="18" charset="0"/>
              </a:rPr>
              <a:t> University. He previously worked as a software developer at Interswitch Ltd and as a Technology Lead at </a:t>
            </a:r>
            <a:r>
              <a:rPr lang="en-US" sz="1400" dirty="0" err="1">
                <a:solidFill>
                  <a:srgbClr val="862624"/>
                </a:solidFill>
                <a:latin typeface="Garamond" panose="02020404030301010803" pitchFamily="18" charset="0"/>
              </a:rPr>
              <a:t>Ofserv</a:t>
            </a:r>
            <a:r>
              <a:rPr lang="en-US" sz="1400" dirty="0">
                <a:solidFill>
                  <a:srgbClr val="862624"/>
                </a:solidFill>
                <a:latin typeface="Garamond" panose="02020404030301010803" pitchFamily="18" charset="0"/>
              </a:rPr>
              <a:t> Nigeria Ltd. He was recognized by Forbes Africa as one of the 30 Under 30 young African change makers in 2018. He is a member of DEMO Africa (Class of 2016).</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err="1">
                <a:solidFill>
                  <a:schemeClr val="tx1"/>
                </a:solidFill>
                <a:latin typeface="Garamond"/>
              </a:rPr>
              <a:t>RubiQube</a:t>
            </a:r>
            <a:endParaRPr lang="en-US" dirty="0">
              <a:solidFill>
                <a:schemeClr val="tx1"/>
              </a:solidFill>
              <a:latin typeface="Garamond"/>
            </a:endParaRPr>
          </a:p>
          <a:p>
            <a:pPr lvl="1"/>
            <a:r>
              <a:rPr lang="en-US" b="1" dirty="0">
                <a:solidFill>
                  <a:schemeClr val="tx1"/>
                </a:solidFill>
                <a:latin typeface="Garamond"/>
              </a:rPr>
              <a:t>BUSINESS ACTIVITIES: </a:t>
            </a:r>
            <a:r>
              <a:rPr lang="en-ZA" dirty="0" err="1">
                <a:solidFill>
                  <a:schemeClr val="tx1"/>
                </a:solidFill>
                <a:latin typeface="Garamond"/>
              </a:rPr>
              <a:t>Rubiqube</a:t>
            </a:r>
            <a:r>
              <a:rPr lang="en-ZA" dirty="0">
                <a:solidFill>
                  <a:schemeClr val="tx1"/>
                </a:solidFill>
                <a:latin typeface="Garamond"/>
              </a:rPr>
              <a:t> is an advertising technology company that provides video and other rich media to drive customer engagement for its client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Nigeri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32</a:t>
            </a:r>
          </a:p>
          <a:p>
            <a:pPr lvl="1"/>
            <a:endParaRPr lang="en-US" dirty="0">
              <a:solidFill>
                <a:schemeClr val="tx1"/>
              </a:solidFill>
              <a:latin typeface="Garamond" panose="02020404030301010803" pitchFamily="18" charset="0"/>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Mahmood </a:t>
            </a:r>
            <a:r>
              <a:rPr lang="en-ZA" sz="1400" dirty="0" err="1">
                <a:solidFill>
                  <a:schemeClr val="tx1"/>
                </a:solidFill>
                <a:latin typeface="Garamond" panose="02020404030301010803" pitchFamily="18" charset="0"/>
              </a:rPr>
              <a:t>Oyewo</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a:ea typeface="+mn-lt"/>
                <a:cs typeface="+mn-lt"/>
                <a:hlinkClick r:id="rId8"/>
              </a:rPr>
              <a:t>https://</a:t>
            </a:r>
            <a:r>
              <a:rPr lang="en-ZA" sz="1400" dirty="0">
                <a:solidFill>
                  <a:schemeClr val="tx1"/>
                </a:solidFill>
                <a:latin typeface="Garamond" panose="02020404030301010803" pitchFamily="18" charset="0"/>
                <a:hlinkClick r:id="rId8"/>
              </a:rPr>
              <a:t>therubiqube.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mahmood@therubiqube.com</a:t>
            </a:r>
            <a:endParaRPr lang="en-ZA" sz="1400" dirty="0">
              <a:solidFill>
                <a:schemeClr val="tx1"/>
              </a:solidFill>
              <a:latin typeface="Garamond" panose="02020404030301010803" pitchFamily="18" charset="0"/>
            </a:endParaRPr>
          </a:p>
          <a:p>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4 816 577 0916</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281815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7ECA086-7709-4AEC-A732-D33B6A0140A0}"/>
              </a:ext>
            </a:extLst>
          </p:cNvPr>
          <p:cNvGraphicFramePr>
            <a:graphicFrameLocks noChangeAspect="1"/>
          </p:cNvGraphicFramePr>
          <p:nvPr>
            <p:custDataLst>
              <p:tags r:id="rId2"/>
            </p:custDataLst>
            <p:extLst>
              <p:ext uri="{D42A27DB-BD31-4B8C-83A1-F6EECF244321}">
                <p14:modId xmlns:p14="http://schemas.microsoft.com/office/powerpoint/2010/main" val="2913871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5605"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CBD7729-F2F0-472D-88F9-039ADB07158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2FCDE491-3AF4-4704-823A-5AED760B7813}"/>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Khondwani Banda – Afford-a-Baby: Affordable children’s clothing</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t="7642" b="5470"/>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KONDWANI</a:t>
            </a:r>
          </a:p>
          <a:p>
            <a:pPr algn="ctr"/>
            <a:r>
              <a:rPr lang="en-US" sz="1400" dirty="0" err="1">
                <a:solidFill>
                  <a:srgbClr val="862624"/>
                </a:solidFill>
                <a:latin typeface="Garamond"/>
              </a:rPr>
              <a:t>Kondwani</a:t>
            </a:r>
            <a:r>
              <a:rPr lang="en-US" sz="1400" dirty="0">
                <a:solidFill>
                  <a:srgbClr val="862624"/>
                </a:solidFill>
                <a:latin typeface="Garamond"/>
              </a:rPr>
              <a:t> is a media and communications major at the University of Zambia. A natural born storyteller, </a:t>
            </a:r>
            <a:r>
              <a:rPr lang="en-US" sz="1400" dirty="0" err="1">
                <a:solidFill>
                  <a:srgbClr val="862624"/>
                </a:solidFill>
                <a:latin typeface="Garamond"/>
              </a:rPr>
              <a:t>Kondwani</a:t>
            </a:r>
            <a:r>
              <a:rPr lang="en-US" sz="1400" dirty="0">
                <a:solidFill>
                  <a:srgbClr val="862624"/>
                </a:solidFill>
                <a:latin typeface="Garamond"/>
              </a:rPr>
              <a:t> initially found her calling in media and went on to found The Mainstream, a digital magazine that aims to tell authentic African stories. Since then she has started another media enterprise –Verity Network.  </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Afford-a-Baby</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Afford-a-Baby provides affordable children's clothing for low and middle income familie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Zambi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5</a:t>
            </a:r>
          </a:p>
          <a:p>
            <a:pPr lvl="1"/>
            <a:endParaRPr lang="en-US" dirty="0">
              <a:solidFill>
                <a:schemeClr val="tx1"/>
              </a:solidFill>
              <a:latin typeface="Garamond" panose="02020404030301010803" pitchFamily="18" charset="0"/>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Khondwani Banda</a:t>
            </a:r>
          </a:p>
          <a:p>
            <a:r>
              <a:rPr lang="en-ZA" sz="1400" b="1" dirty="0">
                <a:solidFill>
                  <a:schemeClr val="tx1"/>
                </a:solidFill>
                <a:latin typeface="Garamond" panose="02020404030301010803" pitchFamily="18" charset="0"/>
              </a:rPr>
              <a:t>Website: </a:t>
            </a:r>
            <a:r>
              <a:rPr lang="en-ZA" sz="1400" dirty="0">
                <a:latin typeface="Garamond" panose="02020404030301010803" pitchFamily="18" charset="0"/>
                <a:hlinkClick r:id="rId8"/>
              </a:rPr>
              <a:t>https://www.linkedin.com/in/kondwani-banda-aa7a59140/</a:t>
            </a:r>
            <a:endParaRPr lang="en-ZA" sz="1400" dirty="0">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khondwanijounalism@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60 977 643 703</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106773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67E19C65-168F-48B9-ADE7-5E9F897443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3148"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67E19C65-168F-48B9-ADE7-5E9F897443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E1D2FD92-CD98-40F2-9CBA-2E59327DFE2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57BB9526-3141-4F75-9C94-E98A2FE0F54B}"/>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500" b="1" dirty="0">
                <a:solidFill>
                  <a:srgbClr val="862624"/>
                </a:solidFill>
                <a:latin typeface="Garamond"/>
              </a:rPr>
              <a:t>Alhaji Siraj Bah–  </a:t>
            </a:r>
            <a:r>
              <a:rPr lang="en-ZA" sz="2500" b="1" dirty="0" err="1">
                <a:solidFill>
                  <a:srgbClr val="862624"/>
                </a:solidFill>
                <a:latin typeface="Garamond"/>
              </a:rPr>
              <a:t>Rugsal</a:t>
            </a:r>
            <a:r>
              <a:rPr lang="en-ZA" sz="2500" b="1" dirty="0">
                <a:solidFill>
                  <a:srgbClr val="862624"/>
                </a:solidFill>
                <a:latin typeface="Garamond"/>
              </a:rPr>
              <a:t> Trading: Briquettes, paper bags and poultry</a:t>
            </a:r>
            <a:endParaRPr lang="en-US" sz="2500" b="1" dirty="0">
              <a:solidFill>
                <a:srgbClr val="862624"/>
              </a:solidFill>
              <a:latin typeface="Garamond"/>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2574" t="7106" r="16497" b="4537"/>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ALHAJI</a:t>
            </a:r>
            <a:endParaRPr lang="en-US" sz="1600" b="1" dirty="0">
              <a:latin typeface="Garamond" panose="02020404030301010803" pitchFamily="18" charset="0"/>
            </a:endParaRPr>
          </a:p>
          <a:p>
            <a:pPr algn="ctr"/>
            <a:r>
              <a:rPr lang="en-US" sz="1400" dirty="0" err="1">
                <a:solidFill>
                  <a:schemeClr val="accent1"/>
                </a:solidFill>
                <a:latin typeface="Garamond"/>
              </a:rPr>
              <a:t>Alhaji</a:t>
            </a:r>
            <a:r>
              <a:rPr lang="en-US" sz="1400" dirty="0">
                <a:solidFill>
                  <a:schemeClr val="accent1"/>
                </a:solidFill>
                <a:latin typeface="Garamond"/>
              </a:rPr>
              <a:t> was born in a small town in the Eastern Province of Sierra Leone. At 18 and with only $20 in savings, the Sierra Leonean founded </a:t>
            </a:r>
            <a:r>
              <a:rPr lang="en-US" sz="1400" dirty="0" err="1">
                <a:solidFill>
                  <a:schemeClr val="accent1"/>
                </a:solidFill>
                <a:latin typeface="Garamond"/>
              </a:rPr>
              <a:t>Rugsal</a:t>
            </a:r>
            <a:r>
              <a:rPr lang="en-US" sz="1400" dirty="0">
                <a:solidFill>
                  <a:schemeClr val="accent1"/>
                </a:solidFill>
                <a:latin typeface="Garamond"/>
              </a:rPr>
              <a:t> Trading, an enterprise that now employs 38 people. His inspiring life story was featured on CNN’s Call to Earth in 2019.</a:t>
            </a:r>
          </a:p>
          <a:p>
            <a:pPr algn="ctr"/>
            <a:endParaRPr lang="en-US" sz="1400" dirty="0">
              <a:solidFill>
                <a:schemeClr val="accent1"/>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Rugsal</a:t>
            </a:r>
            <a:r>
              <a:rPr lang="en-US" dirty="0">
                <a:solidFill>
                  <a:schemeClr val="tx1"/>
                </a:solidFill>
                <a:latin typeface="Garamond" panose="02020404030301010803" pitchFamily="18" charset="0"/>
              </a:rPr>
              <a:t> Trading</a:t>
            </a:r>
          </a:p>
          <a:p>
            <a:pPr lvl="1"/>
            <a:r>
              <a:rPr lang="en-US" b="1" dirty="0">
                <a:solidFill>
                  <a:schemeClr val="tx1"/>
                </a:solidFill>
                <a:latin typeface="Garamond"/>
              </a:rPr>
              <a:t>BUSINESS ACTIVITIES: </a:t>
            </a:r>
            <a:r>
              <a:rPr lang="en-US" dirty="0" err="1">
                <a:solidFill>
                  <a:schemeClr val="tx1"/>
                </a:solidFill>
                <a:latin typeface="Garamond"/>
              </a:rPr>
              <a:t>Rugsal</a:t>
            </a:r>
            <a:r>
              <a:rPr lang="en-US" dirty="0">
                <a:solidFill>
                  <a:schemeClr val="tx1"/>
                </a:solidFill>
                <a:latin typeface="Garamond"/>
              </a:rPr>
              <a:t> Trading produces handcrafted paper bags and briquettes for cooking fuel.</a:t>
            </a:r>
            <a:r>
              <a:rPr lang="en-US" dirty="0"/>
              <a:t> </a:t>
            </a:r>
            <a:r>
              <a:rPr lang="en-US" dirty="0">
                <a:solidFill>
                  <a:schemeClr val="tx1"/>
                </a:solidFill>
                <a:latin typeface="Garamond"/>
              </a:rPr>
              <a:t>In 2020, </a:t>
            </a:r>
            <a:r>
              <a:rPr lang="en-US" dirty="0" err="1">
                <a:solidFill>
                  <a:schemeClr val="tx1"/>
                </a:solidFill>
                <a:latin typeface="Garamond"/>
              </a:rPr>
              <a:t>Rugsal</a:t>
            </a:r>
            <a:r>
              <a:rPr lang="en-US" dirty="0">
                <a:solidFill>
                  <a:schemeClr val="tx1"/>
                </a:solidFill>
                <a:latin typeface="Garamond"/>
              </a:rPr>
              <a:t> Trading added poultry to its product offering.</a:t>
            </a:r>
          </a:p>
          <a:p>
            <a:pPr lvl="1"/>
            <a:r>
              <a:rPr lang="en-US" b="1" dirty="0">
                <a:solidFill>
                  <a:schemeClr val="tx1"/>
                </a:solidFill>
                <a:latin typeface="Garamond"/>
              </a:rPr>
              <a:t>BUSINESS LOCATION: </a:t>
            </a:r>
            <a:r>
              <a:rPr lang="en-US" dirty="0">
                <a:solidFill>
                  <a:schemeClr val="tx1"/>
                </a:solidFill>
                <a:latin typeface="Garamond"/>
              </a:rPr>
              <a:t>Sierra Leone</a:t>
            </a:r>
          </a:p>
          <a:p>
            <a:pPr lvl="1"/>
            <a:r>
              <a:rPr lang="en-US" b="1" dirty="0">
                <a:solidFill>
                  <a:schemeClr val="tx1"/>
                </a:solidFill>
                <a:latin typeface="Garamond"/>
              </a:rPr>
              <a:t>JOBS CREATED (Full &amp; Part Time): </a:t>
            </a:r>
            <a:r>
              <a:rPr lang="en-US" dirty="0">
                <a:solidFill>
                  <a:schemeClr val="tx1"/>
                </a:solidFill>
                <a:latin typeface="Garamond"/>
              </a:rPr>
              <a:t>20</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Alhaji Siraj Bah</a:t>
            </a: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facebook.com/Rugsal</a:t>
            </a:r>
            <a:r>
              <a:rPr lang="en-ZA" sz="1400" dirty="0">
                <a:solidFill>
                  <a:schemeClr val="tx1"/>
                </a:solidFill>
                <a:latin typeface="Garamond" panose="02020404030301010803" pitchFamily="18" charset="0"/>
              </a:rPr>
              <a:t> </a:t>
            </a:r>
            <a:endParaRPr lang="en-US" sz="1400" b="1"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rugsaltrading2017@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60 96 374 1831</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161929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F5B59874-77A8-4A20-B0FF-A7DA2CCDB9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783"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F5B59874-77A8-4A20-B0FF-A7DA2CCDB9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266BF977-7CD4-4033-88CA-262C6BFE3D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6410F33F-3218-451A-89C5-AF7E366FBFBE}"/>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rmAutofit/>
          </a:bodyPr>
          <a:lstStyle/>
          <a:p>
            <a:r>
              <a:rPr lang="en-ZA" sz="2800" b="1" dirty="0">
                <a:solidFill>
                  <a:srgbClr val="862624"/>
                </a:solidFill>
                <a:latin typeface="Garamond"/>
              </a:rPr>
              <a:t>Farai </a:t>
            </a:r>
            <a:r>
              <a:rPr lang="en-ZA" sz="2800" b="1" dirty="0" err="1">
                <a:solidFill>
                  <a:srgbClr val="862624"/>
                </a:solidFill>
                <a:latin typeface="Garamond"/>
              </a:rPr>
              <a:t>Munjoma</a:t>
            </a:r>
            <a:r>
              <a:rPr lang="en-ZA" sz="2800" b="1" dirty="0">
                <a:solidFill>
                  <a:srgbClr val="862624"/>
                </a:solidFill>
                <a:latin typeface="Garamond"/>
              </a:rPr>
              <a:t>– </a:t>
            </a:r>
            <a:r>
              <a:rPr lang="en-ZA" sz="2800" b="1" dirty="0" err="1">
                <a:solidFill>
                  <a:srgbClr val="862624"/>
                </a:solidFill>
                <a:latin typeface="Garamond"/>
              </a:rPr>
              <a:t>Shasha</a:t>
            </a:r>
            <a:r>
              <a:rPr lang="en-ZA" sz="2800" b="1" dirty="0">
                <a:solidFill>
                  <a:srgbClr val="862624"/>
                </a:solidFill>
                <a:latin typeface="Garamond"/>
              </a:rPr>
              <a:t> Network: Digital learning platform</a:t>
            </a:r>
            <a:endParaRPr lang="en-US" sz="2800" b="1" dirty="0">
              <a:solidFill>
                <a:srgbClr val="862624"/>
              </a:solidFill>
              <a:latin typeface="Garamond"/>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7260" t="3739" b="7782"/>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FARAI</a:t>
            </a:r>
          </a:p>
          <a:p>
            <a:pPr algn="ctr"/>
            <a:r>
              <a:rPr lang="en-US" sz="1400" dirty="0">
                <a:solidFill>
                  <a:srgbClr val="862624"/>
                </a:solidFill>
                <a:latin typeface="Garamond"/>
              </a:rPr>
              <a:t>Farai is a seasoned social entrepreneur who founded </a:t>
            </a:r>
            <a:r>
              <a:rPr lang="en-US" sz="1400" dirty="0" err="1">
                <a:solidFill>
                  <a:srgbClr val="862624"/>
                </a:solidFill>
                <a:latin typeface="Garamond"/>
              </a:rPr>
              <a:t>Shasha</a:t>
            </a:r>
            <a:r>
              <a:rPr lang="en-US" sz="1400" dirty="0">
                <a:solidFill>
                  <a:srgbClr val="862624"/>
                </a:solidFill>
                <a:latin typeface="Garamond"/>
              </a:rPr>
              <a:t> Network in 2014. He recently graduated from the African Leadership University where he completed a degree in Business Management. He has worked in seven African countries with organizations such as </a:t>
            </a:r>
            <a:r>
              <a:rPr lang="en-US" sz="1400" dirty="0" err="1">
                <a:solidFill>
                  <a:srgbClr val="862624"/>
                </a:solidFill>
                <a:latin typeface="Garamond"/>
              </a:rPr>
              <a:t>Ashinaga</a:t>
            </a:r>
            <a:r>
              <a:rPr lang="en-US" sz="1400" dirty="0">
                <a:solidFill>
                  <a:srgbClr val="862624"/>
                </a:solidFill>
                <a:latin typeface="Garamond"/>
              </a:rPr>
              <a:t>, Junior Achievement, and </a:t>
            </a:r>
            <a:r>
              <a:rPr lang="en-US" sz="1400" dirty="0" err="1">
                <a:solidFill>
                  <a:srgbClr val="862624"/>
                </a:solidFill>
                <a:latin typeface="Garamond"/>
              </a:rPr>
              <a:t>Eneza</a:t>
            </a:r>
            <a:r>
              <a:rPr lang="en-US" sz="1400" dirty="0">
                <a:solidFill>
                  <a:srgbClr val="862624"/>
                </a:solidFill>
                <a:latin typeface="Garamond"/>
              </a:rPr>
              <a:t> Education. He aspires to advise regional African governments on education policy whilst fostering technology partnerships between Africa and advanced economies. </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Shasha</a:t>
            </a:r>
            <a:r>
              <a:rPr lang="en-US" dirty="0">
                <a:solidFill>
                  <a:schemeClr val="tx1"/>
                </a:solidFill>
                <a:latin typeface="Garamond" panose="02020404030301010803" pitchFamily="18" charset="0"/>
              </a:rPr>
              <a:t> Network</a:t>
            </a:r>
          </a:p>
          <a:p>
            <a:pPr lvl="1"/>
            <a:r>
              <a:rPr lang="en-US" b="1" dirty="0">
                <a:solidFill>
                  <a:schemeClr val="tx1"/>
                </a:solidFill>
                <a:latin typeface="Garamond"/>
              </a:rPr>
              <a:t>BUSINESS ACTIVITIES: </a:t>
            </a:r>
            <a:r>
              <a:rPr lang="en-US" dirty="0" err="1">
                <a:solidFill>
                  <a:schemeClr val="tx1"/>
                </a:solidFill>
                <a:latin typeface="Garamond"/>
              </a:rPr>
              <a:t>Shasha</a:t>
            </a:r>
            <a:r>
              <a:rPr lang="en-US" dirty="0">
                <a:solidFill>
                  <a:schemeClr val="tx1"/>
                </a:solidFill>
                <a:latin typeface="Garamond"/>
              </a:rPr>
              <a:t> Network is an </a:t>
            </a:r>
            <a:r>
              <a:rPr lang="en-US" dirty="0" err="1">
                <a:solidFill>
                  <a:schemeClr val="tx1"/>
                </a:solidFill>
                <a:latin typeface="Garamond"/>
              </a:rPr>
              <a:t>edtech</a:t>
            </a:r>
            <a:r>
              <a:rPr lang="en-US" dirty="0">
                <a:solidFill>
                  <a:schemeClr val="tx1"/>
                </a:solidFill>
                <a:latin typeface="Garamond"/>
              </a:rPr>
              <a:t> startup which provides digital learning to high school students in Zimbabwe. The company aims to provide affordable and innovative high impact education solutions to African communitie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Zimbabwe</a:t>
            </a:r>
          </a:p>
          <a:p>
            <a:pPr lvl="1"/>
            <a:r>
              <a:rPr lang="en-US" b="1" dirty="0">
                <a:solidFill>
                  <a:schemeClr val="tx1"/>
                </a:solidFill>
                <a:latin typeface="Garamond"/>
              </a:rPr>
              <a:t>JOBS CREATED (Full &amp; Part Time): </a:t>
            </a:r>
            <a:r>
              <a:rPr lang="en-US" dirty="0">
                <a:solidFill>
                  <a:schemeClr val="tx1"/>
                </a:solidFill>
                <a:latin typeface="Garamond"/>
              </a:rPr>
              <a:t>8</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Farai </a:t>
            </a:r>
            <a:r>
              <a:rPr lang="en-ZA" sz="1400" dirty="0" err="1">
                <a:solidFill>
                  <a:schemeClr val="tx1"/>
                </a:solidFill>
                <a:latin typeface="Garamond"/>
              </a:rPr>
              <a:t>Munjoma</a:t>
            </a:r>
            <a:endParaRPr lang="en-ZA" sz="1400" dirty="0">
              <a:solidFill>
                <a:schemeClr val="tx1"/>
              </a:solidFill>
              <a:latin typeface="Garamond"/>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shashanetwork.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faraimunjoma4@gmail.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30 574 856 26</a:t>
            </a:r>
            <a:endParaRPr lang="en-GB" sz="1400" dirty="0">
              <a:solidFill>
                <a:schemeClr val="tx1"/>
              </a:solidFill>
              <a:latin typeface="Garamond"/>
            </a:endParaRPr>
          </a:p>
        </p:txBody>
      </p:sp>
    </p:spTree>
    <p:extLst>
      <p:ext uri="{BB962C8B-B14F-4D97-AF65-F5344CB8AC3E}">
        <p14:creationId xmlns:p14="http://schemas.microsoft.com/office/powerpoint/2010/main" val="306848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50FA8A18-E503-4CC8-81F1-4DF8528063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8040"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50FA8A18-E503-4CC8-81F1-4DF8528063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4D1EE5A-E572-4A7D-AE9A-6102DCF5B9C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D8372D11-79AB-4FCE-B10C-D582C47D8DC3}"/>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495444" cy="609600"/>
          </a:xfrm>
        </p:spPr>
        <p:txBody>
          <a:bodyPr>
            <a:noAutofit/>
          </a:bodyPr>
          <a:lstStyle/>
          <a:p>
            <a:r>
              <a:rPr lang="en-ZA" sz="2800" b="1" dirty="0">
                <a:solidFill>
                  <a:srgbClr val="862624"/>
                </a:solidFill>
              </a:rPr>
              <a:t>Mohamed </a:t>
            </a:r>
            <a:r>
              <a:rPr lang="en-ZA" sz="2800" b="1" dirty="0" err="1">
                <a:solidFill>
                  <a:srgbClr val="862624"/>
                </a:solidFill>
              </a:rPr>
              <a:t>Sherif</a:t>
            </a:r>
            <a:r>
              <a:rPr lang="en-ZA" sz="2800" b="1" dirty="0">
                <a:solidFill>
                  <a:srgbClr val="862624"/>
                </a:solidFill>
              </a:rPr>
              <a:t> – </a:t>
            </a:r>
            <a:r>
              <a:rPr lang="en-ZA" sz="2800" b="1" dirty="0" err="1">
                <a:solidFill>
                  <a:srgbClr val="862624"/>
                </a:solidFill>
              </a:rPr>
              <a:t>Sherif</a:t>
            </a:r>
            <a:r>
              <a:rPr lang="en-ZA" sz="2800" b="1" dirty="0">
                <a:solidFill>
                  <a:srgbClr val="862624"/>
                </a:solidFill>
              </a:rPr>
              <a:t> Ice Flakes: Refrigeration for fresh seafood</a:t>
            </a:r>
            <a:endParaRPr lang="en-US" sz="2800" b="1" dirty="0">
              <a:solidFill>
                <a:srgbClr val="862624"/>
              </a:solidFill>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17179" t="7719" r="18886" b="4521"/>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MOHAMED</a:t>
            </a:r>
          </a:p>
          <a:p>
            <a:pPr algn="ctr"/>
            <a:r>
              <a:rPr lang="en-US" sz="1400" dirty="0">
                <a:solidFill>
                  <a:srgbClr val="862624"/>
                </a:solidFill>
                <a:latin typeface="Garamond"/>
              </a:rPr>
              <a:t>Nicknamed “the philosopher” by his friends for his thoughtful nature, Mohamed has always had a penchant for deep reflection about the challenges and opportunities facing his community. Living close to the seaside in Libya, Mohamed noticed that the fishermen who went out to sea were incurring financial losses because their catch would get spoilt while they are out at sea. To solve this challenge, he started creating and selling ice flakes in boxes that fisherman can use to refrigerate their catch while they are out at sea. </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err="1">
                <a:solidFill>
                  <a:schemeClr val="tx1"/>
                </a:solidFill>
                <a:latin typeface="Garamond"/>
              </a:rPr>
              <a:t>Sherif</a:t>
            </a:r>
            <a:r>
              <a:rPr lang="en-US" dirty="0">
                <a:solidFill>
                  <a:schemeClr val="tx1"/>
                </a:solidFill>
                <a:latin typeface="Garamond"/>
              </a:rPr>
              <a:t> Ice Flakes</a:t>
            </a:r>
            <a:r>
              <a:rPr lang="en-US" dirty="0">
                <a:latin typeface="Garamond" panose="02020404030301010803" pitchFamily="18" charset="0"/>
              </a:rPr>
              <a:t/>
            </a:r>
            <a:br>
              <a:rPr lang="en-US" dirty="0">
                <a:latin typeface="Garamond" panose="02020404030301010803" pitchFamily="18" charset="0"/>
              </a:rPr>
            </a:br>
            <a:r>
              <a:rPr lang="en-US" b="1" dirty="0">
                <a:solidFill>
                  <a:schemeClr val="tx1"/>
                </a:solidFill>
                <a:latin typeface="Garamond"/>
              </a:rPr>
              <a:t>BUSINESS ACTIVITIES: </a:t>
            </a:r>
            <a:r>
              <a:rPr lang="en-US" dirty="0" err="1">
                <a:solidFill>
                  <a:schemeClr val="tx1"/>
                </a:solidFill>
                <a:latin typeface="Garamond"/>
              </a:rPr>
              <a:t>Sherif</a:t>
            </a:r>
            <a:r>
              <a:rPr lang="en-US" dirty="0">
                <a:solidFill>
                  <a:schemeClr val="tx1"/>
                </a:solidFill>
                <a:latin typeface="Garamond"/>
              </a:rPr>
              <a:t> Ice Flakes creates and sells ice flakes in boxes that fisherman can use to refrigerate their catch while they are out at sea. </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Libya</a:t>
            </a:r>
          </a:p>
          <a:p>
            <a:pPr lvl="1"/>
            <a:r>
              <a:rPr lang="en-US" b="1" dirty="0">
                <a:solidFill>
                  <a:schemeClr val="tx1"/>
                </a:solidFill>
                <a:latin typeface="Garamond"/>
              </a:rPr>
              <a:t>JOBS CREATED (Full &amp; Part Time): </a:t>
            </a:r>
            <a:r>
              <a:rPr lang="en-US" dirty="0">
                <a:solidFill>
                  <a:schemeClr val="tx1"/>
                </a:solidFill>
                <a:latin typeface="Garamond"/>
              </a:rPr>
              <a:t>2</a:t>
            </a:r>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Mohamed </a:t>
            </a:r>
            <a:r>
              <a:rPr lang="en-ZA" sz="1400" dirty="0" err="1">
                <a:solidFill>
                  <a:schemeClr val="tx1"/>
                </a:solidFill>
                <a:latin typeface="Garamond" panose="02020404030301010803" pitchFamily="18" charset="0"/>
              </a:rPr>
              <a:t>Sherif</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a:t>
            </a:r>
          </a:p>
          <a:p>
            <a:r>
              <a:rPr lang="en-ZA" sz="1400" dirty="0">
                <a:solidFill>
                  <a:schemeClr val="tx1"/>
                </a:solidFill>
                <a:latin typeface="Garamond" panose="02020404030301010803" pitchFamily="18" charset="0"/>
                <a:hlinkClick r:id="rId8"/>
              </a:rPr>
              <a:t>https://www.facebook.com/Sherif-ICE-Flakes-313521306128350/</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md.sherif@yahoo.com</a:t>
            </a:r>
            <a:endParaRPr lang="en-ZA" sz="1400" dirty="0">
              <a:solidFill>
                <a:schemeClr val="tx1"/>
              </a:solidFill>
              <a:latin typeface="Garamond" panose="02020404030301010803" pitchFamily="18" charset="0"/>
            </a:endParaRPr>
          </a:p>
          <a:p>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18 913 636 300</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611977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CEA53C2D-5289-4732-86BE-CC67C7DDE1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807"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CEA53C2D-5289-4732-86BE-CC67C7DDE1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FCE86F4D-B363-4307-B2CC-EA9F9A996C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F8E035AA-A1B8-4C04-A898-D91DC867C572}"/>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Chris </a:t>
            </a:r>
            <a:r>
              <a:rPr lang="en-ZA" sz="2800" b="1" dirty="0" err="1">
                <a:solidFill>
                  <a:srgbClr val="862624"/>
                </a:solidFill>
              </a:rPr>
              <a:t>Kwekowe</a:t>
            </a:r>
            <a:r>
              <a:rPr lang="en-ZA" sz="2800" b="1" dirty="0">
                <a:solidFill>
                  <a:srgbClr val="862624"/>
                </a:solidFill>
              </a:rPr>
              <a:t>– </a:t>
            </a:r>
            <a:r>
              <a:rPr lang="en-ZA" sz="2800" b="1" dirty="0" err="1">
                <a:solidFill>
                  <a:srgbClr val="862624"/>
                </a:solidFill>
              </a:rPr>
              <a:t>Slatecube</a:t>
            </a:r>
            <a:r>
              <a:rPr lang="en-ZA" sz="2800" b="1" dirty="0">
                <a:solidFill>
                  <a:srgbClr val="862624"/>
                </a:solidFill>
              </a:rPr>
              <a:t>: </a:t>
            </a:r>
            <a:r>
              <a:rPr lang="en-ZA" sz="2800" b="1" dirty="0"/>
              <a:t>SaaS-based talent accelerator </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3954" t="3739" r="5998" b="7782"/>
          <a:stretch/>
        </p:blipFill>
        <p:spPr>
          <a:xfrm>
            <a:off x="1293712" y="1879720"/>
            <a:ext cx="2668688"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CHRIS</a:t>
            </a:r>
          </a:p>
          <a:p>
            <a:pPr algn="ctr"/>
            <a:r>
              <a:rPr lang="en-US" sz="1400" dirty="0">
                <a:solidFill>
                  <a:srgbClr val="862624"/>
                </a:solidFill>
                <a:latin typeface="Garamond"/>
              </a:rPr>
              <a:t>Chris is a young, MIT-trained, and innovative </a:t>
            </a:r>
            <a:r>
              <a:rPr lang="en-US" sz="1400" dirty="0" err="1">
                <a:solidFill>
                  <a:srgbClr val="862624"/>
                </a:solidFill>
                <a:latin typeface="Garamond"/>
              </a:rPr>
              <a:t>edtech</a:t>
            </a:r>
            <a:r>
              <a:rPr lang="en-US" sz="1400" dirty="0">
                <a:solidFill>
                  <a:srgbClr val="862624"/>
                </a:solidFill>
                <a:latin typeface="Garamond"/>
              </a:rPr>
              <a:t> entrepreneur who is passionate about technology and bettering the prospects for an average African youth. Chris has a keen interest and substantial knowledge in computers and technology. He has a flair for building scalable learning pedagogy and systems tailored to the workforce of today and to that of the future. He was recognized by Forbes Africa in their 30 Under 30 list in 2018.</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Slatecube</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err="1">
                <a:solidFill>
                  <a:schemeClr val="tx2"/>
                </a:solidFill>
                <a:latin typeface="Garamond"/>
              </a:rPr>
              <a:t>Slatecube</a:t>
            </a:r>
            <a:r>
              <a:rPr lang="en-US" dirty="0">
                <a:solidFill>
                  <a:schemeClr val="tx2"/>
                </a:solidFill>
                <a:latin typeface="Garamond"/>
              </a:rPr>
              <a:t> develops the continent's young talents into world class professionals while it also provides smart AI-based tools to help businesses integrate top </a:t>
            </a:r>
            <a:endParaRPr lang="en-US" dirty="0">
              <a:solidFill>
                <a:schemeClr val="tx2"/>
              </a:solidFill>
              <a:latin typeface="Garamond" panose="02020404030301010803" pitchFamily="18" charset="0"/>
            </a:endParaRPr>
          </a:p>
          <a:p>
            <a:pPr lvl="1"/>
            <a:r>
              <a:rPr lang="en-US" dirty="0">
                <a:solidFill>
                  <a:schemeClr val="tx2"/>
                </a:solidFill>
                <a:latin typeface="Garamond" panose="02020404030301010803" pitchFamily="18" charset="0"/>
              </a:rPr>
              <a:t>entry-level talents into their workforce.</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Nigeria and South Africa</a:t>
            </a:r>
          </a:p>
          <a:p>
            <a:pPr lvl="1"/>
            <a:r>
              <a:rPr lang="en-US" b="1" dirty="0">
                <a:solidFill>
                  <a:schemeClr val="tx1"/>
                </a:solidFill>
                <a:latin typeface="Garamond"/>
              </a:rPr>
              <a:t>JOBS CREATED (Full &amp; Part Time): </a:t>
            </a:r>
            <a:r>
              <a:rPr lang="en-US" dirty="0">
                <a:solidFill>
                  <a:schemeClr val="tx1"/>
                </a:solidFill>
                <a:latin typeface="Garamond"/>
              </a:rPr>
              <a:t>8</a:t>
            </a:r>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Chris </a:t>
            </a:r>
            <a:r>
              <a:rPr lang="en-ZA" sz="1400" dirty="0" err="1">
                <a:solidFill>
                  <a:schemeClr val="tx1"/>
                </a:solidFill>
                <a:latin typeface="Garamond"/>
              </a:rPr>
              <a:t>Kwekowe</a:t>
            </a:r>
            <a:endParaRPr lang="en-ZA" sz="1400" dirty="0">
              <a:solidFill>
                <a:schemeClr val="tx1"/>
              </a:solidFill>
              <a:latin typeface="Garamond"/>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slatecube.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chris@slatecube.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34 802 608 204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79632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7F9C855C-D069-4DF6-9576-AE152F051C14}"/>
              </a:ext>
            </a:extLst>
          </p:cNvPr>
          <p:cNvGraphicFramePr>
            <a:graphicFrameLocks noChangeAspect="1"/>
          </p:cNvGraphicFramePr>
          <p:nvPr>
            <p:custDataLst>
              <p:tags r:id="rId2"/>
            </p:custDataLst>
            <p:extLst>
              <p:ext uri="{D42A27DB-BD31-4B8C-83A1-F6EECF244321}">
                <p14:modId xmlns:p14="http://schemas.microsoft.com/office/powerpoint/2010/main" val="905937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1749"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9DC267E-23E3-4918-8C99-055C2E7D5D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C3FF1B08-9DCE-48CE-897E-454926059810}"/>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rmAutofit/>
          </a:bodyPr>
          <a:lstStyle/>
          <a:p>
            <a:r>
              <a:rPr lang="en-ZA" sz="2800" b="1" dirty="0">
                <a:solidFill>
                  <a:srgbClr val="862624"/>
                </a:solidFill>
                <a:latin typeface="Garamond"/>
              </a:rPr>
              <a:t>George </a:t>
            </a:r>
            <a:r>
              <a:rPr lang="en-ZA" sz="2800" b="1" dirty="0" err="1">
                <a:solidFill>
                  <a:srgbClr val="862624"/>
                </a:solidFill>
                <a:latin typeface="Garamond"/>
              </a:rPr>
              <a:t>Mtemahanji</a:t>
            </a:r>
            <a:r>
              <a:rPr lang="en-ZA" sz="2800" b="1" dirty="0">
                <a:solidFill>
                  <a:srgbClr val="862624"/>
                </a:solidFill>
                <a:latin typeface="Garamond"/>
              </a:rPr>
              <a:t> – </a:t>
            </a:r>
            <a:r>
              <a:rPr lang="en-ZA" sz="2800" b="1" dirty="0" err="1">
                <a:solidFill>
                  <a:srgbClr val="862624"/>
                </a:solidFill>
                <a:latin typeface="Garamond"/>
              </a:rPr>
              <a:t>SunSweet</a:t>
            </a:r>
            <a:r>
              <a:rPr lang="en-ZA" sz="2800" b="1" dirty="0">
                <a:solidFill>
                  <a:srgbClr val="862624"/>
                </a:solidFill>
                <a:latin typeface="Garamond"/>
              </a:rPr>
              <a:t> Solar: Energy and Solar company</a:t>
            </a:r>
            <a:endParaRPr lang="en-US" sz="2800" b="1" dirty="0">
              <a:solidFill>
                <a:srgbClr val="862624"/>
              </a:solidFill>
              <a:latin typeface="Garamond"/>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t="3739" r="7646" b="7783"/>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Garamond" panose="02020404030301010803" pitchFamily="18" charset="0"/>
              </a:rPr>
              <a:t>ABOUT GEORGE</a:t>
            </a:r>
          </a:p>
          <a:p>
            <a:pPr algn="ctr"/>
            <a:r>
              <a:rPr lang="en-US" sz="1400" dirty="0">
                <a:solidFill>
                  <a:schemeClr val="accent1"/>
                </a:solidFill>
                <a:latin typeface="Garamond"/>
              </a:rPr>
              <a:t>In 2003, nine-year-old George </a:t>
            </a:r>
            <a:r>
              <a:rPr lang="en-US" sz="1400" dirty="0" err="1">
                <a:solidFill>
                  <a:schemeClr val="accent1"/>
                </a:solidFill>
                <a:latin typeface="Garamond"/>
              </a:rPr>
              <a:t>Mtemahanji</a:t>
            </a:r>
            <a:r>
              <a:rPr lang="en-US" sz="1400" dirty="0">
                <a:solidFill>
                  <a:schemeClr val="accent1"/>
                </a:solidFill>
                <a:latin typeface="Garamond"/>
              </a:rPr>
              <a:t> left his home in </a:t>
            </a:r>
            <a:r>
              <a:rPr lang="en-US" sz="1400" dirty="0" err="1">
                <a:solidFill>
                  <a:schemeClr val="accent1"/>
                </a:solidFill>
                <a:latin typeface="Garamond"/>
              </a:rPr>
              <a:t>Ifakara</a:t>
            </a:r>
            <a:r>
              <a:rPr lang="en-US" sz="1400" dirty="0">
                <a:solidFill>
                  <a:schemeClr val="accent1"/>
                </a:solidFill>
                <a:latin typeface="Garamond"/>
              </a:rPr>
              <a:t>, a small rural town in Tanzania’s </a:t>
            </a:r>
            <a:r>
              <a:rPr lang="en-US" sz="1400" dirty="0" err="1">
                <a:solidFill>
                  <a:schemeClr val="accent1"/>
                </a:solidFill>
                <a:latin typeface="Garamond"/>
              </a:rPr>
              <a:t>Kilombero</a:t>
            </a:r>
            <a:r>
              <a:rPr lang="en-US" sz="1400" dirty="0">
                <a:solidFill>
                  <a:schemeClr val="accent1"/>
                </a:solidFill>
                <a:latin typeface="Garamond"/>
              </a:rPr>
              <a:t> District, to move to Italy where his mother had managed to secure work. He returned to his birth town after eight years and was surprised to see that it faced the same problems it had when he left. A lack of reliable electricity had in many ways pushed the brakes on development and prevented local industries from reaching their full potential. Subsequently, he is on a mission to provide low cost, clean energy to rural communities across Africa so that the continent can reach its full development potential.</a:t>
            </a:r>
            <a:endParaRPr lang="en-US" sz="1400" dirty="0">
              <a:solidFill>
                <a:schemeClr val="accent1"/>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SunSweet</a:t>
            </a:r>
            <a:r>
              <a:rPr lang="en-US" dirty="0">
                <a:solidFill>
                  <a:schemeClr val="tx1"/>
                </a:solidFill>
                <a:latin typeface="Garamond" panose="02020404030301010803" pitchFamily="18" charset="0"/>
              </a:rPr>
              <a:t> Solar</a:t>
            </a:r>
          </a:p>
          <a:p>
            <a:pPr lvl="1" fontAlgn="base"/>
            <a:r>
              <a:rPr lang="en-US" b="1" dirty="0">
                <a:solidFill>
                  <a:schemeClr val="tx1"/>
                </a:solidFill>
                <a:latin typeface="Garamond"/>
              </a:rPr>
              <a:t>BUSINESS ACTIVITIES: </a:t>
            </a:r>
            <a:r>
              <a:rPr lang="en-US" dirty="0" err="1">
                <a:solidFill>
                  <a:schemeClr val="tx1"/>
                </a:solidFill>
                <a:latin typeface="Garamond"/>
              </a:rPr>
              <a:t>SunSweet</a:t>
            </a:r>
            <a:r>
              <a:rPr lang="en-US" dirty="0">
                <a:solidFill>
                  <a:schemeClr val="tx1"/>
                </a:solidFill>
                <a:latin typeface="Garamond"/>
              </a:rPr>
              <a:t> Solar Limited is an energy and solar company, which designs and installs off-grid, mini, and micro grid solar systems. </a:t>
            </a:r>
          </a:p>
          <a:p>
            <a:pPr lvl="1" fontAlgn="base"/>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Tanzania</a:t>
            </a:r>
          </a:p>
          <a:p>
            <a:pPr lvl="1"/>
            <a:r>
              <a:rPr lang="en-US" b="1" dirty="0">
                <a:solidFill>
                  <a:schemeClr val="tx1"/>
                </a:solidFill>
                <a:latin typeface="Garamond"/>
              </a:rPr>
              <a:t>JOBS CREATED (Full &amp; Part Time): </a:t>
            </a:r>
            <a:r>
              <a:rPr lang="en-US" dirty="0">
                <a:solidFill>
                  <a:schemeClr val="tx1"/>
                </a:solidFill>
                <a:latin typeface="Garamond"/>
              </a:rPr>
              <a:t>15</a:t>
            </a:r>
          </a:p>
          <a:p>
            <a:pPr lvl="1"/>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George </a:t>
            </a:r>
            <a:r>
              <a:rPr lang="en-ZA" sz="1400" dirty="0" err="1">
                <a:solidFill>
                  <a:schemeClr val="tx1"/>
                </a:solidFill>
                <a:latin typeface="Garamond"/>
              </a:rPr>
              <a:t>Mtemahanji</a:t>
            </a:r>
            <a:endParaRPr lang="en-ZA" sz="1400" dirty="0">
              <a:solidFill>
                <a:schemeClr val="tx1"/>
              </a:solidFill>
              <a:latin typeface="Garamond"/>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sunsweetsolarltd.com</a:t>
            </a:r>
            <a:r>
              <a:rPr lang="en-ZA" sz="1400" dirty="0">
                <a:solidFill>
                  <a:schemeClr val="tx1"/>
                </a:solidFill>
                <a:latin typeface="Garamond" panose="02020404030301010803" pitchFamily="18" charset="0"/>
              </a:rPr>
              <a:t> </a:t>
            </a:r>
          </a:p>
          <a:p>
            <a:r>
              <a:rPr lang="en-ZA" sz="1400" b="1" dirty="0">
                <a:solidFill>
                  <a:schemeClr val="tx1"/>
                </a:solidFill>
                <a:latin typeface="Garamond"/>
              </a:rPr>
              <a:t>Email: </a:t>
            </a:r>
            <a:r>
              <a:rPr lang="en-ZA" sz="1400" dirty="0">
                <a:solidFill>
                  <a:schemeClr val="tx1"/>
                </a:solidFill>
                <a:latin typeface="Garamond"/>
                <a:hlinkClick r:id="rId9"/>
              </a:rPr>
              <a:t>george@sunsweetsolarltd.com</a:t>
            </a:r>
            <a:endParaRPr lang="en-GB" sz="1400" dirty="0">
              <a:solidFill>
                <a:schemeClr val="tx1"/>
              </a:solidFill>
              <a:latin typeface="Garamond"/>
            </a:endParaRPr>
          </a:p>
          <a:p>
            <a:r>
              <a:rPr lang="en-ZA" sz="1400" b="1" dirty="0">
                <a:solidFill>
                  <a:schemeClr val="tx1"/>
                </a:solidFill>
                <a:latin typeface="Garamond"/>
              </a:rPr>
              <a:t>WhatsApp: </a:t>
            </a:r>
            <a:r>
              <a:rPr lang="en-ZA" sz="1400" dirty="0">
                <a:solidFill>
                  <a:schemeClr val="tx1"/>
                </a:solidFill>
                <a:latin typeface="Garamond"/>
              </a:rPr>
              <a:t>+417 882 541 33</a:t>
            </a:r>
            <a:endParaRPr lang="en-GB" sz="1400" dirty="0">
              <a:solidFill>
                <a:schemeClr val="tx1"/>
              </a:solidFill>
              <a:latin typeface="Garamond"/>
            </a:endParaRPr>
          </a:p>
        </p:txBody>
      </p:sp>
    </p:spTree>
    <p:extLst>
      <p:ext uri="{BB962C8B-B14F-4D97-AF65-F5344CB8AC3E}">
        <p14:creationId xmlns:p14="http://schemas.microsoft.com/office/powerpoint/2010/main" val="2685192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0DA913E6-C7D0-4C8D-BD9C-752A2B996F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5894"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0DA913E6-C7D0-4C8D-BD9C-752A2B996F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A34CE878-217D-4FCD-8E58-3C8CA23E41C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8102FD4E-915D-409E-B58C-7712D67595D8}"/>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a:solidFill>
                  <a:srgbClr val="862624"/>
                </a:solidFill>
              </a:rPr>
              <a:t>Ifrah Arab– Supermom: Empowering underemployed women</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0503" r="10503"/>
          <a:stretch/>
        </p:blipFill>
        <p:spPr>
          <a:xfrm>
            <a:off x="1293711" y="1879719"/>
            <a:ext cx="2729251"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accent1"/>
              </a:solidFill>
              <a:latin typeface="Garamond" panose="02020404030301010803" pitchFamily="18" charset="0"/>
            </a:endParaRPr>
          </a:p>
          <a:p>
            <a:pPr algn="ctr"/>
            <a:r>
              <a:rPr lang="en-US" sz="1600" b="1" dirty="0">
                <a:solidFill>
                  <a:schemeClr val="accent1"/>
                </a:solidFill>
                <a:latin typeface="Garamond" panose="02020404030301010803" pitchFamily="18" charset="0"/>
              </a:rPr>
              <a:t>ABOUT IFRAH</a:t>
            </a:r>
          </a:p>
          <a:p>
            <a:pPr algn="ctr"/>
            <a:r>
              <a:rPr lang="en-US" sz="1400" dirty="0">
                <a:solidFill>
                  <a:schemeClr val="accent1"/>
                </a:solidFill>
                <a:latin typeface="Garamond"/>
              </a:rPr>
              <a:t>Ifrah is the founder and CEO of </a:t>
            </a:r>
            <a:r>
              <a:rPr lang="en-US" sz="1400" dirty="0" err="1">
                <a:solidFill>
                  <a:schemeClr val="accent1"/>
                </a:solidFill>
                <a:latin typeface="Garamond"/>
              </a:rPr>
              <a:t>SuperMom</a:t>
            </a:r>
            <a:r>
              <a:rPr lang="en-US" sz="1400" dirty="0">
                <a:solidFill>
                  <a:schemeClr val="accent1"/>
                </a:solidFill>
                <a:latin typeface="Garamond"/>
              </a:rPr>
              <a:t>. She is a University of Nairobi Law graduate (with LLB honors). Ifrah was born and raised in a marginalized community. Subsequently, her greatest passion is to improve her community and to especially improve the lives of women in her community by empowering them to earn a living.</a:t>
            </a:r>
          </a:p>
          <a:p>
            <a:pPr algn="ctr"/>
            <a:endParaRPr lang="en-US" sz="1400" dirty="0">
              <a:solidFill>
                <a:schemeClr val="accent1"/>
              </a:solidFill>
              <a:latin typeface="Garamond"/>
            </a:endParaRPr>
          </a:p>
          <a:p>
            <a:pPr algn="ctr"/>
            <a:endParaRPr lang="en-US" sz="1400" dirty="0">
              <a:solidFill>
                <a:schemeClr val="accent1"/>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err="1">
                <a:solidFill>
                  <a:schemeClr val="tx1"/>
                </a:solidFill>
                <a:latin typeface="Garamond"/>
              </a:rPr>
              <a:t>SuperMom</a:t>
            </a:r>
            <a:endParaRPr lang="en-US" dirty="0">
              <a:solidFill>
                <a:schemeClr val="tx1"/>
              </a:solidFill>
              <a:latin typeface="Garamond"/>
            </a:endParaRPr>
          </a:p>
          <a:p>
            <a:pPr lvl="1"/>
            <a:r>
              <a:rPr lang="en-US" b="1" dirty="0">
                <a:solidFill>
                  <a:schemeClr val="tx1"/>
                </a:solidFill>
                <a:latin typeface="Garamond"/>
              </a:rPr>
              <a:t>BUSINESS ACTIVITIES: </a:t>
            </a:r>
            <a:r>
              <a:rPr lang="en-US" dirty="0" err="1">
                <a:solidFill>
                  <a:schemeClr val="tx1"/>
                </a:solidFill>
                <a:latin typeface="Garamond"/>
              </a:rPr>
              <a:t>SuperMom</a:t>
            </a:r>
            <a:r>
              <a:rPr lang="en-US" dirty="0">
                <a:solidFill>
                  <a:schemeClr val="tx1"/>
                </a:solidFill>
                <a:latin typeface="Garamond"/>
              </a:rPr>
              <a:t> is a social enterprise that is committed to enabling and empowering unemployed and underemployed women from marginalized communities. They do this by creating a sales force that distributes essential lifesaving products within their communities.</a:t>
            </a:r>
          </a:p>
          <a:p>
            <a:pPr lvl="1"/>
            <a:r>
              <a:rPr lang="en-US" b="1" dirty="0">
                <a:solidFill>
                  <a:schemeClr val="tx1"/>
                </a:solidFill>
                <a:latin typeface="Garamond"/>
              </a:rPr>
              <a:t>BUSINESS LOCATION: </a:t>
            </a:r>
            <a:r>
              <a:rPr lang="en-US" dirty="0">
                <a:solidFill>
                  <a:schemeClr val="tx1"/>
                </a:solidFill>
                <a:latin typeface="Garamond"/>
              </a:rPr>
              <a:t>Kenya</a:t>
            </a:r>
            <a:endParaRPr lang="en-US" dirty="0">
              <a:solidFill>
                <a:schemeClr val="tx1"/>
              </a:solidFill>
            </a:endParaRPr>
          </a:p>
          <a:p>
            <a:pPr lvl="1"/>
            <a:r>
              <a:rPr lang="en-US" b="1" dirty="0">
                <a:solidFill>
                  <a:schemeClr val="tx1"/>
                </a:solidFill>
                <a:latin typeface="Garamond"/>
              </a:rPr>
              <a:t>JOBS CREATED (Full &amp; Part Time): </a:t>
            </a:r>
            <a:r>
              <a:rPr lang="en-US" dirty="0">
                <a:solidFill>
                  <a:schemeClr val="tx1"/>
                </a:solidFill>
                <a:latin typeface="Garamond"/>
              </a:rPr>
              <a:t>6</a:t>
            </a:r>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600" b="1" dirty="0">
                <a:solidFill>
                  <a:schemeClr val="tx1"/>
                </a:solidFill>
                <a:latin typeface="Garamond"/>
              </a:rPr>
              <a:t>Contact: </a:t>
            </a:r>
            <a:r>
              <a:rPr lang="en-ZA" sz="1600" dirty="0">
                <a:solidFill>
                  <a:schemeClr val="tx1"/>
                </a:solidFill>
                <a:latin typeface="Garamond"/>
              </a:rPr>
              <a:t>Ifrah Arab</a:t>
            </a:r>
          </a:p>
          <a:p>
            <a:r>
              <a:rPr lang="en-US" sz="16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facebook.com/SuperMomKE</a:t>
            </a:r>
            <a:r>
              <a:rPr lang="en-ZA" sz="1400" dirty="0">
                <a:solidFill>
                  <a:schemeClr val="tx1"/>
                </a:solidFill>
                <a:latin typeface="Garamond" panose="02020404030301010803" pitchFamily="18" charset="0"/>
              </a:rPr>
              <a:t> </a:t>
            </a:r>
          </a:p>
          <a:p>
            <a:r>
              <a:rPr lang="en-ZA" sz="1600" b="1" dirty="0">
                <a:solidFill>
                  <a:schemeClr val="tx1"/>
                </a:solidFill>
                <a:latin typeface="Garamond" panose="02020404030301010803" pitchFamily="18" charset="0"/>
              </a:rPr>
              <a:t>Email: </a:t>
            </a:r>
            <a:r>
              <a:rPr lang="en-ZA" sz="1600" dirty="0">
                <a:solidFill>
                  <a:schemeClr val="tx1"/>
                </a:solidFill>
                <a:latin typeface="Garamond" panose="02020404030301010803" pitchFamily="18" charset="0"/>
                <a:hlinkClick r:id="rId9"/>
              </a:rPr>
              <a:t>ifreitsarab@gmail.com</a:t>
            </a:r>
            <a:endParaRPr lang="en-ZA" sz="1600" dirty="0">
              <a:solidFill>
                <a:schemeClr val="tx1"/>
              </a:solidFill>
              <a:latin typeface="Garamond" panose="02020404030301010803" pitchFamily="18" charset="0"/>
            </a:endParaRPr>
          </a:p>
          <a:p>
            <a:r>
              <a:rPr lang="en-ZA" sz="1600" dirty="0">
                <a:solidFill>
                  <a:schemeClr val="tx1"/>
                </a:solidFill>
                <a:latin typeface="Garamond"/>
              </a:rPr>
              <a:t> </a:t>
            </a:r>
            <a:r>
              <a:rPr lang="en-ZA" sz="1600" b="1" dirty="0">
                <a:solidFill>
                  <a:schemeClr val="tx1"/>
                </a:solidFill>
                <a:latin typeface="Garamond"/>
              </a:rPr>
              <a:t>WhatsApp: </a:t>
            </a:r>
            <a:r>
              <a:rPr lang="en-ZA" sz="1600" dirty="0">
                <a:solidFill>
                  <a:schemeClr val="tx1"/>
                </a:solidFill>
                <a:latin typeface="Garamond"/>
              </a:rPr>
              <a:t>+254 711 347 697</a:t>
            </a:r>
            <a:endParaRPr lang="en-GB" sz="16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737638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4D9B8C3A-96C0-4983-B8E1-30DE9CCF5AB7}"/>
              </a:ext>
            </a:extLst>
          </p:cNvPr>
          <p:cNvGraphicFramePr>
            <a:graphicFrameLocks noChangeAspect="1"/>
          </p:cNvGraphicFramePr>
          <p:nvPr>
            <p:custDataLst>
              <p:tags r:id="rId2"/>
            </p:custDataLst>
            <p:extLst>
              <p:ext uri="{D42A27DB-BD31-4B8C-83A1-F6EECF244321}">
                <p14:modId xmlns:p14="http://schemas.microsoft.com/office/powerpoint/2010/main" val="324696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892"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ED478000-AC19-4D94-ADCC-44F0826D72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6BCC2D1D-1D65-4DCD-8BA9-D90EFB7DEECD}"/>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66828"/>
            <a:ext cx="10213460" cy="609600"/>
          </a:xfrm>
        </p:spPr>
        <p:txBody>
          <a:bodyPr>
            <a:noAutofit/>
          </a:bodyPr>
          <a:lstStyle/>
          <a:p>
            <a:r>
              <a:rPr lang="en-ZA" sz="2500" b="1" dirty="0">
                <a:solidFill>
                  <a:srgbClr val="862624"/>
                </a:solidFill>
              </a:rPr>
              <a:t>B</a:t>
            </a:r>
            <a:r>
              <a:rPr lang="fr-FR" sz="2500" b="1" dirty="0" err="1">
                <a:solidFill>
                  <a:srgbClr val="862624"/>
                </a:solidFill>
              </a:rPr>
              <a:t>énédicte</a:t>
            </a:r>
            <a:r>
              <a:rPr lang="fr-FR" sz="2500" b="1" dirty="0">
                <a:solidFill>
                  <a:srgbClr val="862624"/>
                </a:solidFill>
              </a:rPr>
              <a:t> </a:t>
            </a:r>
            <a:r>
              <a:rPr lang="fr-FR" sz="2500" b="1" dirty="0" err="1">
                <a:solidFill>
                  <a:srgbClr val="862624"/>
                </a:solidFill>
              </a:rPr>
              <a:t>Mundele</a:t>
            </a:r>
            <a:r>
              <a:rPr lang="fr-FR" sz="2500" b="1" dirty="0">
                <a:solidFill>
                  <a:srgbClr val="862624"/>
                </a:solidFill>
              </a:rPr>
              <a:t> </a:t>
            </a:r>
            <a:r>
              <a:rPr lang="en-ZA" sz="2500" b="1" dirty="0">
                <a:solidFill>
                  <a:srgbClr val="862624"/>
                </a:solidFill>
              </a:rPr>
              <a:t>– Surprise </a:t>
            </a:r>
            <a:r>
              <a:rPr lang="en-ZA" sz="2500" b="1" dirty="0" err="1">
                <a:solidFill>
                  <a:srgbClr val="862624"/>
                </a:solidFill>
              </a:rPr>
              <a:t>Tropicale</a:t>
            </a:r>
            <a:r>
              <a:rPr lang="en-ZA" sz="2500" b="1" dirty="0">
                <a:solidFill>
                  <a:srgbClr val="862624"/>
                </a:solidFill>
              </a:rPr>
              <a:t>: Fresh fruits and Vegetables </a:t>
            </a:r>
            <a:endParaRPr lang="en-US" sz="25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7831" r="4659" b="19922"/>
          <a:stretch/>
        </p:blipFill>
        <p:spPr>
          <a:xfrm>
            <a:off x="1293713"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BENEDICTE</a:t>
            </a:r>
          </a:p>
          <a:p>
            <a:pPr algn="ctr"/>
            <a:r>
              <a:rPr lang="en-US" sz="1400" dirty="0">
                <a:solidFill>
                  <a:srgbClr val="862624"/>
                </a:solidFill>
                <a:latin typeface="Garamond"/>
              </a:rPr>
              <a:t>Benedicte is the co-founder and  CEO of Surprise </a:t>
            </a:r>
            <a:r>
              <a:rPr lang="en-US" sz="1400" dirty="0" err="1">
                <a:solidFill>
                  <a:srgbClr val="862624"/>
                </a:solidFill>
                <a:latin typeface="Garamond"/>
              </a:rPr>
              <a:t>Tropicale</a:t>
            </a:r>
            <a:r>
              <a:rPr lang="en-US" sz="1400" dirty="0">
                <a:solidFill>
                  <a:srgbClr val="862624"/>
                </a:solidFill>
                <a:latin typeface="Garamond"/>
              </a:rPr>
              <a:t>. She has a Master’s degree in Food Innovation. She has been featured in several magazine publications - Forbes, Venture Africa, How We Made It in Africa, Go ladies and </a:t>
            </a:r>
            <a:r>
              <a:rPr lang="en-US" sz="1400" dirty="0" err="1">
                <a:solidFill>
                  <a:srgbClr val="862624"/>
                </a:solidFill>
                <a:latin typeface="Garamond"/>
              </a:rPr>
              <a:t>Jeune</a:t>
            </a:r>
            <a:r>
              <a:rPr lang="en-US" sz="1400" dirty="0">
                <a:solidFill>
                  <a:srgbClr val="862624"/>
                </a:solidFill>
                <a:latin typeface="Garamond"/>
              </a:rPr>
              <a:t> Afrique. In 2019, the BBC recognized her as one of the 100 most influential women in the world.</a:t>
            </a:r>
          </a:p>
          <a:p>
            <a:pPr algn="ctr"/>
            <a:endParaRPr lang="en-US" dirty="0"/>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a:solidFill>
                  <a:schemeClr val="tx1"/>
                </a:solidFill>
                <a:latin typeface="Garamond"/>
              </a:rPr>
              <a:t>Surprise </a:t>
            </a:r>
            <a:r>
              <a:rPr lang="en-US" dirty="0" err="1">
                <a:solidFill>
                  <a:schemeClr val="tx1"/>
                </a:solidFill>
                <a:latin typeface="Garamond"/>
              </a:rPr>
              <a:t>Tropicale</a:t>
            </a:r>
            <a:endParaRPr lang="en-US">
              <a:solidFill>
                <a:schemeClr val="tx1"/>
              </a:solidFill>
              <a:latin typeface="Garamond"/>
            </a:endParaRPr>
          </a:p>
          <a:p>
            <a:pPr lvl="1"/>
            <a:r>
              <a:rPr lang="en-US" b="1" dirty="0">
                <a:solidFill>
                  <a:schemeClr val="tx1"/>
                </a:solidFill>
                <a:latin typeface="Garamond"/>
              </a:rPr>
              <a:t>BUSINESS ACTIVITIES: </a:t>
            </a:r>
            <a:r>
              <a:rPr lang="en-US" dirty="0">
                <a:solidFill>
                  <a:schemeClr val="tx1"/>
                </a:solidFill>
                <a:latin typeface="Garamond"/>
              </a:rPr>
              <a:t>Surprise </a:t>
            </a:r>
            <a:r>
              <a:rPr lang="en-US" dirty="0" err="1">
                <a:solidFill>
                  <a:schemeClr val="tx1"/>
                </a:solidFill>
                <a:latin typeface="Garamond"/>
              </a:rPr>
              <a:t>Tropicale</a:t>
            </a:r>
            <a:r>
              <a:rPr lang="en-US" dirty="0">
                <a:solidFill>
                  <a:schemeClr val="tx1"/>
                </a:solidFill>
                <a:latin typeface="Garamond"/>
              </a:rPr>
              <a:t> is a juice bar chain that also delivers fruits and vegetables to clients' home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Democratic Republic of Congo</a:t>
            </a:r>
          </a:p>
          <a:p>
            <a:pPr lvl="1"/>
            <a:r>
              <a:rPr lang="en-US" b="1" dirty="0">
                <a:solidFill>
                  <a:schemeClr val="tx1"/>
                </a:solidFill>
                <a:latin typeface="Garamond"/>
              </a:rPr>
              <a:t>JOBS CREATED (Full &amp; Part Time):</a:t>
            </a:r>
            <a:r>
              <a:rPr lang="en-US" dirty="0">
                <a:solidFill>
                  <a:schemeClr val="tx1"/>
                </a:solidFill>
                <a:latin typeface="Garamond"/>
              </a:rPr>
              <a:t> 10</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Bénédicte </a:t>
            </a:r>
            <a:r>
              <a:rPr lang="en-ZA" sz="1400" dirty="0" err="1">
                <a:solidFill>
                  <a:schemeClr val="tx1"/>
                </a:solidFill>
                <a:latin typeface="Garamond"/>
              </a:rPr>
              <a:t>Mundele</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surprisetropicale.yinezo.com</a:t>
            </a:r>
            <a:r>
              <a:rPr lang="en-ZA" sz="1400" dirty="0">
                <a:solidFill>
                  <a:schemeClr val="tx1"/>
                </a:solidFill>
                <a:latin typeface="Garamond" panose="02020404030301010803" pitchFamily="18" charset="0"/>
              </a:rPr>
              <a:t>   </a:t>
            </a:r>
          </a:p>
          <a:p>
            <a:r>
              <a:rPr lang="en-ZA" sz="1400" b="1" dirty="0">
                <a:solidFill>
                  <a:schemeClr val="tx1"/>
                </a:solidFill>
                <a:latin typeface="Garamond"/>
              </a:rPr>
              <a:t>Email: </a:t>
            </a:r>
            <a:r>
              <a:rPr lang="en-ZA" sz="1400" dirty="0">
                <a:solidFill>
                  <a:schemeClr val="tx1"/>
                </a:solidFill>
                <a:latin typeface="Garamond"/>
                <a:hlinkClick r:id="rId9"/>
              </a:rPr>
              <a:t>benesthermundele@gmail.com</a:t>
            </a:r>
            <a:r>
              <a:rPr lang="en-ZA" sz="1400" dirty="0">
                <a:solidFill>
                  <a:schemeClr val="tx1"/>
                </a:solidFill>
                <a:latin typeface="Garamond"/>
              </a:rPr>
              <a:t> </a:t>
            </a:r>
            <a:r>
              <a:rPr lang="en-ZA" sz="1400" b="1" dirty="0">
                <a:solidFill>
                  <a:schemeClr val="tx1"/>
                </a:solidFill>
                <a:latin typeface="Garamond"/>
              </a:rPr>
              <a:t>WhatsApp: </a:t>
            </a:r>
            <a:r>
              <a:rPr lang="en-ZA" sz="1400" dirty="0">
                <a:solidFill>
                  <a:schemeClr val="tx1"/>
                </a:solidFill>
                <a:latin typeface="Garamond"/>
              </a:rPr>
              <a:t>+243 858 849 700</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064519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94F77D8-6D97-4A7E-BE59-C67A25AA45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4162"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994F77D8-6D97-4A7E-BE59-C67A25AA45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F9C82ECF-01F5-4BD4-9DD9-F2550AE153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40995ECC-70F0-4D62-AC2B-6CD768B4951D}"/>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err="1">
                <a:solidFill>
                  <a:srgbClr val="862624"/>
                </a:solidFill>
              </a:rPr>
              <a:t>Boluwatife</a:t>
            </a:r>
            <a:r>
              <a:rPr lang="en-ZA" sz="2800" b="1" dirty="0">
                <a:solidFill>
                  <a:srgbClr val="862624"/>
                </a:solidFill>
              </a:rPr>
              <a:t> </a:t>
            </a:r>
            <a:r>
              <a:rPr lang="en-ZA" sz="2800" b="1" dirty="0" err="1">
                <a:solidFill>
                  <a:srgbClr val="862624"/>
                </a:solidFill>
              </a:rPr>
              <a:t>Omotoyo</a:t>
            </a:r>
            <a:r>
              <a:rPr lang="en-ZA" sz="2800" b="1" dirty="0">
                <a:solidFill>
                  <a:srgbClr val="862624"/>
                </a:solidFill>
              </a:rPr>
              <a:t> – Tab Ng: Digital repairs and services</a:t>
            </a:r>
            <a:endParaRPr lang="en-US" sz="2800" b="1" dirty="0">
              <a:solidFill>
                <a:srgbClr val="862624"/>
              </a:solidFill>
            </a:endParaRPr>
          </a:p>
        </p:txBody>
      </p:sp>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BOLUWATIFE</a:t>
            </a:r>
          </a:p>
          <a:p>
            <a:pPr algn="ctr"/>
            <a:r>
              <a:rPr lang="en-US" sz="1400" dirty="0" err="1">
                <a:solidFill>
                  <a:schemeClr val="accent1"/>
                </a:solidFill>
                <a:latin typeface="Garamond" panose="02020404030301010803" pitchFamily="18" charset="0"/>
              </a:rPr>
              <a:t>Boluwatife</a:t>
            </a:r>
            <a:r>
              <a:rPr lang="en-US" sz="1400" dirty="0">
                <a:solidFill>
                  <a:schemeClr val="accent1"/>
                </a:solidFill>
                <a:latin typeface="Garamond" panose="02020404030301010803" pitchFamily="18" charset="0"/>
              </a:rPr>
              <a:t> developed a keen interest in technology at the age of 16. Through Tab Ng, </a:t>
            </a:r>
            <a:r>
              <a:rPr lang="en-US" sz="1400" dirty="0" err="1">
                <a:solidFill>
                  <a:schemeClr val="accent1"/>
                </a:solidFill>
                <a:latin typeface="Garamond" panose="02020404030301010803" pitchFamily="18" charset="0"/>
              </a:rPr>
              <a:t>Boluwatife</a:t>
            </a:r>
            <a:r>
              <a:rPr lang="en-US" sz="1400" dirty="0">
                <a:solidFill>
                  <a:schemeClr val="accent1"/>
                </a:solidFill>
                <a:latin typeface="Garamond" panose="02020404030301010803" pitchFamily="18" charset="0"/>
              </a:rPr>
              <a:t> is applying his IT expertise to solve a problem of market access for small scale repairers who fix electronics, while enabling customers to find efficient and reliable artisans to fix their gadgets. He is committed to using technology to create social impact. </a:t>
            </a:r>
          </a:p>
          <a:p>
            <a:pPr algn="ctr"/>
            <a:endParaRPr lang="en-US" sz="1400" dirty="0">
              <a:solidFill>
                <a:schemeClr val="accent1"/>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Tab Ng</a:t>
            </a:r>
          </a:p>
          <a:p>
            <a:pPr lvl="1"/>
            <a:r>
              <a:rPr lang="en-US" b="1" dirty="0">
                <a:solidFill>
                  <a:schemeClr val="tx1"/>
                </a:solidFill>
                <a:latin typeface="Garamond"/>
              </a:rPr>
              <a:t>BUSINESS ACTIVITIES: </a:t>
            </a:r>
            <a:r>
              <a:rPr lang="en-US" dirty="0">
                <a:solidFill>
                  <a:schemeClr val="tx1"/>
                </a:solidFill>
                <a:latin typeface="Garamond"/>
              </a:rPr>
              <a:t>Tab Ng is an online and offline platform that connects customers with trusted repairers for their digital gadget repair needs. They also sells gadgets as well as offer top up and swap services.</a:t>
            </a:r>
          </a:p>
          <a:p>
            <a:pPr lvl="1"/>
            <a:r>
              <a:rPr lang="en-US" b="1" dirty="0">
                <a:solidFill>
                  <a:schemeClr val="tx1"/>
                </a:solidFill>
                <a:latin typeface="Garamond"/>
              </a:rPr>
              <a:t>BUSINESS LOCATION: </a:t>
            </a:r>
            <a:r>
              <a:rPr lang="en-US" dirty="0">
                <a:solidFill>
                  <a:schemeClr val="tx1"/>
                </a:solidFill>
                <a:latin typeface="Garamond"/>
              </a:rPr>
              <a:t>Nigeria</a:t>
            </a:r>
          </a:p>
          <a:p>
            <a:pPr lvl="1"/>
            <a:r>
              <a:rPr lang="en-US" b="1" dirty="0">
                <a:solidFill>
                  <a:schemeClr val="tx1"/>
                </a:solidFill>
                <a:latin typeface="Garamond"/>
              </a:rPr>
              <a:t>JOBS CREATED (Full &amp; Part Time): </a:t>
            </a:r>
            <a:r>
              <a:rPr lang="en-US" dirty="0">
                <a:solidFill>
                  <a:schemeClr val="tx1"/>
                </a:solidFill>
                <a:latin typeface="Garamond"/>
              </a:rPr>
              <a:t>5</a:t>
            </a:r>
          </a:p>
          <a:p>
            <a:pPr lvl="1"/>
            <a:endParaRPr lang="en-US" dirty="0">
              <a:solidFill>
                <a:schemeClr val="tx1"/>
              </a:solidFill>
              <a:latin typeface="Garamond"/>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Bolutwatife</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Omotoyo</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a:t>
            </a:r>
          </a:p>
          <a:p>
            <a:r>
              <a:rPr lang="en-ZA" sz="1400" dirty="0">
                <a:latin typeface="Garamond" panose="02020404030301010803" pitchFamily="18" charset="0"/>
                <a:hlinkClick r:id="rId7"/>
              </a:rPr>
              <a:t>https://tab-xi.now.sh</a:t>
            </a:r>
            <a:endParaRPr lang="en-ZA" sz="1400" dirty="0">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8"/>
              </a:rPr>
              <a:t>omotayo.boluwatife@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4 813 750 1834</a:t>
            </a:r>
            <a:endParaRPr lang="en-GB" sz="1400" dirty="0">
              <a:solidFill>
                <a:schemeClr val="tx1"/>
              </a:solidFill>
              <a:latin typeface="Garamond" panose="02020404030301010803" pitchFamily="18" charset="0"/>
            </a:endParaRPr>
          </a:p>
        </p:txBody>
      </p:sp>
      <p:pic>
        <p:nvPicPr>
          <p:cNvPr id="2" name="Picture 1"/>
          <p:cNvPicPr>
            <a:picLocks noChangeAspect="1"/>
          </p:cNvPicPr>
          <p:nvPr/>
        </p:nvPicPr>
        <p:blipFill rotWithShape="1">
          <a:blip r:embed="rId9" cstate="print">
            <a:extLst>
              <a:ext uri="{28A0092B-C50C-407E-A947-70E740481C1C}">
                <a14:useLocalDpi xmlns:a14="http://schemas.microsoft.com/office/drawing/2010/main" val="0"/>
              </a:ext>
            </a:extLst>
          </a:blip>
          <a:srcRect l="16751" t="3906" r="15517" b="7676"/>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699815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0EA6749D-A3A3-42B0-A64E-3B3D07F61389}"/>
              </a:ext>
            </a:extLst>
          </p:cNvPr>
          <p:cNvGraphicFramePr>
            <a:graphicFrameLocks noChangeAspect="1"/>
          </p:cNvGraphicFramePr>
          <p:nvPr>
            <p:custDataLst>
              <p:tags r:id="rId2"/>
            </p:custDataLst>
            <p:extLst>
              <p:ext uri="{D42A27DB-BD31-4B8C-83A1-F6EECF244321}">
                <p14:modId xmlns:p14="http://schemas.microsoft.com/office/powerpoint/2010/main" val="1309712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415"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A9EA6232-B0F9-473B-A814-550DD710845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1" name="Rectangle 10">
            <a:extLst>
              <a:ext uri="{FF2B5EF4-FFF2-40B4-BE49-F238E27FC236}">
                <a16:creationId xmlns:a16="http://schemas.microsoft.com/office/drawing/2014/main" xmlns="" id="{BAA152D0-407D-49DA-8EF6-F5C422AA3500}"/>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476" t="4834" b="4834"/>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Geoffrey </a:t>
            </a:r>
            <a:r>
              <a:rPr lang="en-ZA" sz="2800" b="1" dirty="0" err="1">
                <a:solidFill>
                  <a:srgbClr val="862624"/>
                </a:solidFill>
              </a:rPr>
              <a:t>Mulei</a:t>
            </a:r>
            <a:r>
              <a:rPr lang="en-ZA" sz="2800" b="1" dirty="0">
                <a:solidFill>
                  <a:srgbClr val="862624"/>
                </a:solidFill>
              </a:rPr>
              <a:t> – </a:t>
            </a:r>
            <a:r>
              <a:rPr lang="en-ZA" sz="2800" b="1" dirty="0" err="1">
                <a:solidFill>
                  <a:srgbClr val="862624"/>
                </a:solidFill>
              </a:rPr>
              <a:t>Tanda</a:t>
            </a:r>
            <a:r>
              <a:rPr lang="en-ZA" sz="2800" b="1" dirty="0">
                <a:solidFill>
                  <a:srgbClr val="862624"/>
                </a:solidFill>
              </a:rPr>
              <a:t>: Digital financial services</a:t>
            </a:r>
            <a:endParaRPr lang="en-US" sz="2800" b="1" dirty="0">
              <a:solidFill>
                <a:srgbClr val="862624"/>
              </a:solidFill>
            </a:endParaRPr>
          </a:p>
        </p:txBody>
      </p:sp>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862624"/>
              </a:solidFill>
              <a:latin typeface="Garamond" panose="02020404030301010803" pitchFamily="18" charset="0"/>
            </a:endParaRPr>
          </a:p>
          <a:p>
            <a:pPr algn="ctr"/>
            <a:r>
              <a:rPr lang="en-US" sz="1600" b="1" dirty="0">
                <a:solidFill>
                  <a:srgbClr val="862624"/>
                </a:solidFill>
                <a:latin typeface="Garamond" panose="02020404030301010803" pitchFamily="18" charset="0"/>
              </a:rPr>
              <a:t>ABOUT GEOFFREY</a:t>
            </a:r>
          </a:p>
          <a:p>
            <a:pPr algn="ctr" fontAlgn="base"/>
            <a:r>
              <a:rPr lang="en-ZA" sz="1400" dirty="0">
                <a:solidFill>
                  <a:srgbClr val="862624"/>
                </a:solidFill>
                <a:latin typeface="Garamond" panose="02020404030301010803" pitchFamily="18" charset="0"/>
              </a:rPr>
              <a:t>Geoffrey is a serial entrepreneurial having started his first business at 17 and successfully exiting it at 21. He started his most recent business, </a:t>
            </a:r>
            <a:r>
              <a:rPr lang="en-ZA" sz="1400" dirty="0" err="1">
                <a:solidFill>
                  <a:srgbClr val="862624"/>
                </a:solidFill>
                <a:latin typeface="Garamond" panose="02020404030301010803" pitchFamily="18" charset="0"/>
              </a:rPr>
              <a:t>Tanda</a:t>
            </a:r>
            <a:r>
              <a:rPr lang="en-ZA" sz="1400" dirty="0">
                <a:solidFill>
                  <a:srgbClr val="862624"/>
                </a:solidFill>
                <a:latin typeface="Garamond" panose="02020404030301010803" pitchFamily="18" charset="0"/>
              </a:rPr>
              <a:t>, because he was inspired by his childhood experience of working as a shopkeeper’s assistant. This experience gave him a first-hand view of the day-to day-realities in the life of a shop owner. He witnessed how important shopkeepers are to African neighbourhoods and was inspired to to solve the financial challenges that shopkeepers face by providing them with accessible financial services.</a:t>
            </a:r>
          </a:p>
          <a:p>
            <a:pPr fontAlgn="base"/>
            <a:endParaRPr lang="en-ZA" sz="16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Tanda</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err="1">
                <a:solidFill>
                  <a:schemeClr val="tx1"/>
                </a:solidFill>
                <a:latin typeface="Garamond"/>
              </a:rPr>
              <a:t>Tanda</a:t>
            </a:r>
            <a:r>
              <a:rPr lang="en-US" dirty="0">
                <a:solidFill>
                  <a:schemeClr val="tx1"/>
                </a:solidFill>
                <a:latin typeface="Garamond"/>
              </a:rPr>
              <a:t> provides</a:t>
            </a:r>
            <a:r>
              <a:rPr lang="en-GB" dirty="0">
                <a:solidFill>
                  <a:schemeClr val="tx1"/>
                </a:solidFill>
                <a:latin typeface="Garamond"/>
              </a:rPr>
              <a:t> essential digital financial services such as banking, insurance, and utility payments to unreached markets by using micro-retailers.</a:t>
            </a:r>
            <a:endParaRPr lang="en-ZA" dirty="0">
              <a:solidFill>
                <a:schemeClr val="tx1"/>
              </a:solidFill>
              <a:latin typeface="Garamond"/>
            </a:endParaRP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Keny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46</a:t>
            </a:r>
          </a:p>
          <a:p>
            <a:pPr lvl="1"/>
            <a:endParaRPr lang="en-US" dirty="0">
              <a:solidFill>
                <a:schemeClr val="tx1"/>
              </a:solidFill>
              <a:latin typeface="Garamond" panose="02020404030301010803" pitchFamily="18" charset="0"/>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Geoffrey </a:t>
            </a:r>
            <a:r>
              <a:rPr lang="en-ZA" sz="1400" dirty="0" err="1">
                <a:solidFill>
                  <a:schemeClr val="tx1"/>
                </a:solidFill>
                <a:latin typeface="Garamond" panose="02020404030301010803" pitchFamily="18" charset="0"/>
              </a:rPr>
              <a:t>Mulei</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tanda.africa</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geoff@tanda.africa</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54 718 318 029</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597860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A5817F4E-4734-4CC5-8FB1-78CD2D4DC4B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701" name="think-cell Slide" r:id="rId6" imgW="421" imgH="423" progId="TCLayout.ActiveDocument.1">
                  <p:embed/>
                </p:oleObj>
              </mc:Choice>
              <mc:Fallback>
                <p:oleObj name="think-cell Slide" r:id="rId6" imgW="421" imgH="423" progId="TCLayout.ActiveDocument.1">
                  <p:embed/>
                  <p:pic>
                    <p:nvPicPr>
                      <p:cNvPr id="3" name="Object 2" hidden="1">
                        <a:extLst>
                          <a:ext uri="{FF2B5EF4-FFF2-40B4-BE49-F238E27FC236}">
                            <a16:creationId xmlns:a16="http://schemas.microsoft.com/office/drawing/2014/main" xmlns="" id="{A5817F4E-4734-4CC5-8FB1-78CD2D4DC4B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F8001ED-2998-4451-AA0A-9C8CB4B5C4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3" name="Rectangle 12">
            <a:extLst>
              <a:ext uri="{FF2B5EF4-FFF2-40B4-BE49-F238E27FC236}">
                <a16:creationId xmlns:a16="http://schemas.microsoft.com/office/drawing/2014/main" xmlns="" id="{11465620-2DE6-4783-910B-49FD9EEA29BD}"/>
              </a:ext>
            </a:extLst>
          </p:cNvPr>
          <p:cNvSpPr/>
          <p:nvPr/>
        </p:nvSpPr>
        <p:spPr>
          <a:xfrm>
            <a:off x="1293712" y="1879720"/>
            <a:ext cx="2729250" cy="2371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7" name="Rectangle 6">
            <a:extLst>
              <a:ext uri="{FF2B5EF4-FFF2-40B4-BE49-F238E27FC236}">
                <a16:creationId xmlns:a16="http://schemas.microsoft.com/office/drawing/2014/main" xmlns="" id="{270F5D0F-250F-40D6-AC2A-EAC3FFD6AE2A}"/>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pic>
        <p:nvPicPr>
          <p:cNvPr id="9" name="Picture 8"/>
          <p:cNvPicPr preferRelativeResize="0">
            <a:picLocks/>
          </p:cNvPicPr>
          <p:nvPr/>
        </p:nvPicPr>
        <p:blipFill rotWithShape="1">
          <a:blip r:embed="rId8">
            <a:extLst>
              <a:ext uri="{28A0092B-C50C-407E-A947-70E740481C1C}">
                <a14:useLocalDpi xmlns:a14="http://schemas.microsoft.com/office/drawing/2010/main" val="0"/>
              </a:ext>
            </a:extLst>
          </a:blip>
          <a:srcRect l="770" t="5207" r="-770" b="7908"/>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8" name="Title 4"/>
          <p:cNvSpPr>
            <a:spLocks noGrp="1"/>
          </p:cNvSpPr>
          <p:nvPr>
            <p:ph type="title"/>
          </p:nvPr>
        </p:nvSpPr>
        <p:spPr>
          <a:xfrm>
            <a:off x="1007442" y="442489"/>
            <a:ext cx="10536857" cy="609600"/>
          </a:xfrm>
        </p:spPr>
        <p:txBody>
          <a:bodyPr>
            <a:noAutofit/>
          </a:bodyPr>
          <a:lstStyle/>
          <a:p>
            <a:r>
              <a:rPr lang="en-ZA" sz="2500" b="1" dirty="0">
                <a:solidFill>
                  <a:srgbClr val="862624"/>
                </a:solidFill>
              </a:rPr>
              <a:t>Wuntia Gomda – The Living Machine: Biological waste water treatment plan</a:t>
            </a:r>
            <a:endParaRPr lang="en-US" sz="2500" b="1" dirty="0">
              <a:solidFill>
                <a:srgbClr val="862624"/>
              </a:solidFill>
            </a:endParaRPr>
          </a:p>
        </p:txBody>
      </p:sp>
      <p:sp>
        <p:nvSpPr>
          <p:cNvPr id="10" name="Rectangle 9"/>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WUNTIA</a:t>
            </a:r>
          </a:p>
          <a:p>
            <a:pPr algn="ctr"/>
            <a:r>
              <a:rPr lang="en-US" sz="1400" dirty="0">
                <a:solidFill>
                  <a:srgbClr val="862624"/>
                </a:solidFill>
                <a:latin typeface="Garamond"/>
              </a:rPr>
              <a:t>Wuntia is the co-founder of The Living Machine. Him and his team won a grant of US $100,000 from the Zayed Sustainability Prize, an international prize for recognizing achievements in sustainability, to construct The Living Machine. He is currently a Special Projects Intern at Safi Sana Holding BV (Ghana) where he is gaining experience in waste-to-energy processes while he investigates potential opportunities for The Living Machine.</a:t>
            </a:r>
          </a:p>
        </p:txBody>
      </p:sp>
      <p:sp>
        <p:nvSpPr>
          <p:cNvPr id="11" name="Rectangle 10"/>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The Living Machine</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The Living Machine is a biological wastewater treatment plant that recycles over 1,000 liters of waste water daily at the African Leadership Academy’s Johannesburg campu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Kenya and Ghana</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2</a:t>
            </a:r>
          </a:p>
        </p:txBody>
      </p:sp>
      <p:sp>
        <p:nvSpPr>
          <p:cNvPr id="12" name="Rectangular Callout 11"/>
          <p:cNvSpPr/>
          <p:nvPr/>
        </p:nvSpPr>
        <p:spPr>
          <a:xfrm>
            <a:off x="1049480" y="4698125"/>
            <a:ext cx="3217717"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Wuntia Gomda</a:t>
            </a: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9"/>
              </a:rPr>
              <a:t>https://www.youtube.com/watch?v=xeGxE_AyoB4</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rPr>
              <a:t>wgomda1@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3 20 005 1812</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748311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7A71941-65BE-4A7E-BE4B-7253E4C7B3AE}"/>
              </a:ext>
            </a:extLst>
          </p:cNvPr>
          <p:cNvGraphicFramePr>
            <a:graphicFrameLocks noChangeAspect="1"/>
          </p:cNvGraphicFramePr>
          <p:nvPr>
            <p:custDataLst>
              <p:tags r:id="rId2"/>
            </p:custDataLst>
            <p:extLst>
              <p:ext uri="{D42A27DB-BD31-4B8C-83A1-F6EECF244321}">
                <p14:modId xmlns:p14="http://schemas.microsoft.com/office/powerpoint/2010/main" val="1051975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6629"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ECF3D83-C01D-4CCA-9905-D0A782E983A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F25C2834-C50B-404D-9CD3-E4AA441DF94A}"/>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8" name="Title 4"/>
          <p:cNvSpPr>
            <a:spLocks noGrp="1"/>
          </p:cNvSpPr>
          <p:nvPr>
            <p:ph type="title"/>
          </p:nvPr>
        </p:nvSpPr>
        <p:spPr>
          <a:xfrm>
            <a:off x="1007442" y="481818"/>
            <a:ext cx="10536857" cy="609600"/>
          </a:xfrm>
        </p:spPr>
        <p:txBody>
          <a:bodyPr>
            <a:noAutofit/>
          </a:bodyPr>
          <a:lstStyle/>
          <a:p>
            <a:r>
              <a:rPr lang="en-ZA" sz="2600" b="1" dirty="0">
                <a:solidFill>
                  <a:srgbClr val="862624"/>
                </a:solidFill>
              </a:rPr>
              <a:t>Aldred </a:t>
            </a:r>
            <a:r>
              <a:rPr lang="en-ZA" sz="2600" b="1" dirty="0" err="1">
                <a:solidFill>
                  <a:srgbClr val="862624"/>
                </a:solidFill>
              </a:rPr>
              <a:t>Dogue</a:t>
            </a:r>
            <a:r>
              <a:rPr lang="en-ZA" sz="2600" b="1" dirty="0">
                <a:solidFill>
                  <a:srgbClr val="862624"/>
                </a:solidFill>
              </a:rPr>
              <a:t> – Africa Foods Mill Ltd: Pre-cooked fruits &amp; vegetables </a:t>
            </a:r>
            <a:endParaRPr lang="en-US" sz="2600" b="1" dirty="0">
              <a:solidFill>
                <a:srgbClr val="862624"/>
              </a:solidFill>
            </a:endParaRPr>
          </a:p>
        </p:txBody>
      </p:sp>
      <p:pic>
        <p:nvPicPr>
          <p:cNvPr id="10" name="Picture 9"/>
          <p:cNvPicPr preferRelativeResize="0">
            <a:picLocks/>
          </p:cNvPicPr>
          <p:nvPr/>
        </p:nvPicPr>
        <p:blipFill rotWithShape="1">
          <a:blip r:embed="rId7" cstate="print">
            <a:extLst>
              <a:ext uri="{28A0092B-C50C-407E-A947-70E740481C1C}">
                <a14:useLocalDpi xmlns:a14="http://schemas.microsoft.com/office/drawing/2010/main" val="0"/>
              </a:ext>
            </a:extLst>
          </a:blip>
          <a:srcRect l="2524" t="14915" r="5022" b="5973"/>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11" name="Rectangle 10"/>
          <p:cNvSpPr/>
          <p:nvPr/>
        </p:nvSpPr>
        <p:spPr>
          <a:xfrm>
            <a:off x="4524703" y="4711377"/>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ALDRED</a:t>
            </a:r>
          </a:p>
          <a:p>
            <a:pPr algn="ctr"/>
            <a:r>
              <a:rPr lang="en-US" sz="1400" dirty="0" err="1">
                <a:solidFill>
                  <a:srgbClr val="862624"/>
                </a:solidFill>
                <a:latin typeface="Garamond" panose="02020404030301010803" pitchFamily="18" charset="0"/>
              </a:rPr>
              <a:t>Aldred</a:t>
            </a:r>
            <a:r>
              <a:rPr lang="en-US" sz="1400" dirty="0">
                <a:solidFill>
                  <a:srgbClr val="862624"/>
                </a:solidFill>
                <a:latin typeface="Garamond" panose="02020404030301010803" pitchFamily="18" charset="0"/>
              </a:rPr>
              <a:t> has a degree in Nutrition and Food Technology. He started AFM after he found that local farmers were experiencing post-harvest losses. He joined, AIESEC, a leadership organization and has worked with them on education and gender equality projects. In recognition of his company’s success, he received the Best Business Plan Award from the Young People’s Chamber of Commerce in Benin. </a:t>
            </a:r>
            <a:endParaRPr lang="en-US" sz="1400" dirty="0">
              <a:solidFill>
                <a:srgbClr val="862624"/>
              </a:solidFill>
            </a:endParaRPr>
          </a:p>
        </p:txBody>
      </p:sp>
      <p:sp>
        <p:nvSpPr>
          <p:cNvPr id="12" name="Rectangle 11"/>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fr-FR" dirty="0">
                <a:solidFill>
                  <a:schemeClr val="tx1"/>
                </a:solidFill>
                <a:latin typeface="Garamond" panose="02020404030301010803" pitchFamily="18" charset="0"/>
              </a:rPr>
              <a:t> </a:t>
            </a:r>
            <a:r>
              <a:rPr lang="fr-FR" dirty="0" err="1">
                <a:solidFill>
                  <a:schemeClr val="tx1"/>
                </a:solidFill>
                <a:latin typeface="Garamond" panose="02020404030301010803" pitchFamily="18" charset="0"/>
              </a:rPr>
              <a:t>Africa</a:t>
            </a:r>
            <a:r>
              <a:rPr lang="fr-FR" dirty="0">
                <a:solidFill>
                  <a:schemeClr val="tx1"/>
                </a:solidFill>
                <a:latin typeface="Garamond" panose="02020404030301010803" pitchFamily="18" charset="0"/>
              </a:rPr>
              <a:t> </a:t>
            </a:r>
            <a:r>
              <a:rPr lang="fr-FR" dirty="0" err="1">
                <a:solidFill>
                  <a:schemeClr val="tx1"/>
                </a:solidFill>
                <a:latin typeface="Garamond" panose="02020404030301010803" pitchFamily="18" charset="0"/>
              </a:rPr>
              <a:t>Foods</a:t>
            </a:r>
            <a:r>
              <a:rPr lang="fr-FR" dirty="0">
                <a:solidFill>
                  <a:schemeClr val="tx1"/>
                </a:solidFill>
                <a:latin typeface="Garamond" panose="02020404030301010803" pitchFamily="18" charset="0"/>
              </a:rPr>
              <a:t> Mill Ltd. (AFM)</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AFM purchases local agricultural produce from smallholder farmers. This produce is then transformed and packaged into convenience foods, such as ready-to-eat fresh vegetables, frozen vegetables, cut fruits and fruits salad.</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Benin</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6</a:t>
            </a:r>
          </a:p>
        </p:txBody>
      </p:sp>
      <p:sp>
        <p:nvSpPr>
          <p:cNvPr id="13" name="Rectangular Callout 12"/>
          <p:cNvSpPr/>
          <p:nvPr/>
        </p:nvSpPr>
        <p:spPr>
          <a:xfrm>
            <a:off x="1049480" y="4711377"/>
            <a:ext cx="3218400" cy="1785600"/>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Aldred</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Dogue</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ZA" sz="1300" dirty="0">
                <a:solidFill>
                  <a:schemeClr val="tx1"/>
                </a:solidFill>
                <a:latin typeface="Garamond" panose="02020404030301010803" pitchFamily="18" charset="0"/>
                <a:hlinkClick r:id="rId8"/>
              </a:rPr>
              <a:t>https://www.facebook.com/africafoodsmill</a:t>
            </a:r>
            <a:r>
              <a:rPr lang="en-ZA" sz="13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aldreddogue@gmail.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29 961 523 99 </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131286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CCE51C4-E000-46DE-839A-C48B19D8D0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632" name="think-cell Slide" r:id="rId6" imgW="421" imgH="423" progId="TCLayout.ActiveDocument.1">
                  <p:embed/>
                </p:oleObj>
              </mc:Choice>
              <mc:Fallback>
                <p:oleObj name="think-cell Slide" r:id="rId6" imgW="421" imgH="423" progId="TCLayout.ActiveDocument.1">
                  <p:embed/>
                  <p:pic>
                    <p:nvPicPr>
                      <p:cNvPr id="3" name="Object 2" hidden="1">
                        <a:extLst>
                          <a:ext uri="{FF2B5EF4-FFF2-40B4-BE49-F238E27FC236}">
                            <a16:creationId xmlns:a16="http://schemas.microsoft.com/office/drawing/2014/main" xmlns="" id="{BCCE51C4-E000-46DE-839A-C48B19D8D0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7C06B3E-A74F-4E23-A3E1-7368FCC93D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0A34A5BC-8D10-47B0-A4D3-05A3D0ABF792}"/>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8" name="Title 4"/>
          <p:cNvSpPr>
            <a:spLocks noGrp="1"/>
          </p:cNvSpPr>
          <p:nvPr>
            <p:ph type="title"/>
          </p:nvPr>
        </p:nvSpPr>
        <p:spPr>
          <a:xfrm>
            <a:off x="1007442" y="481818"/>
            <a:ext cx="10536857" cy="609600"/>
          </a:xfrm>
        </p:spPr>
        <p:txBody>
          <a:bodyPr>
            <a:noAutofit/>
          </a:bodyPr>
          <a:lstStyle/>
          <a:p>
            <a:r>
              <a:rPr lang="en-ZA" sz="2800" b="1" dirty="0"/>
              <a:t>Aly Abdelazem – Teens Club: Youth skills development</a:t>
            </a:r>
            <a:endParaRPr lang="en-US" sz="2800" b="1" dirty="0"/>
          </a:p>
        </p:txBody>
      </p:sp>
      <p:pic>
        <p:nvPicPr>
          <p:cNvPr id="9" name="Picture 8"/>
          <p:cNvPicPr preferRelativeResize="0">
            <a:picLocks/>
          </p:cNvPicPr>
          <p:nvPr/>
        </p:nvPicPr>
        <p:blipFill rotWithShape="1">
          <a:blip r:embed="rId8">
            <a:extLst>
              <a:ext uri="{28A0092B-C50C-407E-A947-70E740481C1C}">
                <a14:useLocalDpi xmlns:a14="http://schemas.microsoft.com/office/drawing/2010/main" val="0"/>
              </a:ext>
            </a:extLst>
          </a:blip>
          <a:srcRect l="2657" t="2531" b="15461"/>
          <a:stretch/>
        </p:blipFill>
        <p:spPr>
          <a:xfrm>
            <a:off x="1293712" y="1879720"/>
            <a:ext cx="2729250" cy="2371344"/>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10" name="Rectangle 9"/>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862624"/>
              </a:solidFill>
              <a:latin typeface="Garamond" panose="02020404030301010803" pitchFamily="18" charset="0"/>
            </a:endParaRPr>
          </a:p>
          <a:p>
            <a:pPr algn="ctr"/>
            <a:r>
              <a:rPr lang="en-US" sz="1600" b="1" dirty="0">
                <a:solidFill>
                  <a:srgbClr val="862624"/>
                </a:solidFill>
                <a:latin typeface="Garamond" panose="02020404030301010803" pitchFamily="18" charset="0"/>
              </a:rPr>
              <a:t>ABOUT ALY</a:t>
            </a:r>
          </a:p>
          <a:p>
            <a:pPr algn="ctr"/>
            <a:r>
              <a:rPr lang="en-US" sz="1400" dirty="0">
                <a:solidFill>
                  <a:srgbClr val="862624"/>
                </a:solidFill>
                <a:latin typeface="Garamond" panose="02020404030301010803" pitchFamily="18" charset="0"/>
              </a:rPr>
              <a:t>Aly is an impact-oriented social entrepreneur and non-formal education advocate from Egypt who is currently based in Germany. His social entrepreneurial spirit emerged at the age of 16 when he founded Teens Club. Teens Club is the first Egyptian social enterprise which focuses on non-formal education solutions for less privileged teenagers and women. He is currently studying for a Bachelor’s degree in Bioengineering at the Rhine-Waal University.</a:t>
            </a:r>
          </a:p>
          <a:p>
            <a:pPr algn="ctr"/>
            <a:endParaRPr lang="en-US" sz="1400" dirty="0">
              <a:solidFill>
                <a:srgbClr val="862624"/>
              </a:solidFill>
              <a:latin typeface="Garamond" panose="02020404030301010803" pitchFamily="18" charset="0"/>
            </a:endParaRPr>
          </a:p>
        </p:txBody>
      </p:sp>
      <p:sp>
        <p:nvSpPr>
          <p:cNvPr id="11" name="Rectangle 10"/>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a:t>
            </a:r>
            <a:r>
              <a:rPr lang="en-US" dirty="0">
                <a:solidFill>
                  <a:schemeClr val="tx1"/>
                </a:solidFill>
                <a:latin typeface="Garamond" panose="02020404030301010803" pitchFamily="18" charset="0"/>
              </a:rPr>
              <a:t> </a:t>
            </a:r>
            <a:r>
              <a:rPr lang="en-ZA" dirty="0">
                <a:solidFill>
                  <a:schemeClr val="tx1"/>
                </a:solidFill>
                <a:latin typeface="Garamond" panose="02020404030301010803" pitchFamily="18" charset="0"/>
              </a:rPr>
              <a:t>Teens Club</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Teens Club is a youth-led organization that builds the capacity of young women and teens by developing their employment skills, entrepreneurial ability, and innovation by promoting active citizenship.</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Egypt</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17</a:t>
            </a:r>
          </a:p>
        </p:txBody>
      </p:sp>
      <p:sp>
        <p:nvSpPr>
          <p:cNvPr id="12" name="Rectangular Callout 11"/>
          <p:cNvSpPr/>
          <p:nvPr/>
        </p:nvSpPr>
        <p:spPr>
          <a:xfrm>
            <a:off x="1049480" y="4698125"/>
            <a:ext cx="3217718"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Aly Abdelazem</a:t>
            </a: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9"/>
              </a:rPr>
              <a:t>https://teensclubeg.com</a:t>
            </a:r>
            <a:r>
              <a:rPr lang="en-ZA" sz="1400" dirty="0">
                <a:solidFill>
                  <a:schemeClr val="tx1"/>
                </a:solidFill>
                <a:latin typeface="Garamond" panose="02020404030301010803" pitchFamily="18" charset="0"/>
              </a:rPr>
              <a:t> </a:t>
            </a:r>
            <a:endParaRPr lang="en-ZA" sz="1400" dirty="0">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ction="ppaction://hlinksldjump"/>
              </a:rPr>
              <a:t>aly@teensclubeg.com</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49 157 308 699 46</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67746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1D55F23E-100E-4567-8706-6E6C2A671CCB}"/>
              </a:ext>
            </a:extLst>
          </p:cNvPr>
          <p:cNvGraphicFramePr>
            <a:graphicFrameLocks noChangeAspect="1"/>
          </p:cNvGraphicFramePr>
          <p:nvPr>
            <p:custDataLst>
              <p:tags r:id="rId2"/>
            </p:custDataLst>
            <p:extLst>
              <p:ext uri="{D42A27DB-BD31-4B8C-83A1-F6EECF244321}">
                <p14:modId xmlns:p14="http://schemas.microsoft.com/office/powerpoint/2010/main" val="1719916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2773"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B11F5E72-60B2-4D17-84A2-8584299D7C6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091FC075-882B-422C-974F-5934F93FADBA}"/>
              </a:ext>
            </a:extLst>
          </p:cNvPr>
          <p:cNvSpPr/>
          <p:nvPr/>
        </p:nvSpPr>
        <p:spPr>
          <a:xfrm>
            <a:off x="105551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Khaled </a:t>
            </a:r>
            <a:r>
              <a:rPr lang="en-ZA" sz="2800" b="1" dirty="0" err="1">
                <a:solidFill>
                  <a:srgbClr val="862624"/>
                </a:solidFill>
              </a:rPr>
              <a:t>Aboshady</a:t>
            </a:r>
            <a:r>
              <a:rPr lang="en-ZA" sz="2800" b="1" dirty="0">
                <a:solidFill>
                  <a:srgbClr val="862624"/>
                </a:solidFill>
              </a:rPr>
              <a:t> – </a:t>
            </a:r>
            <a:r>
              <a:rPr lang="en-ZA" sz="2800" b="1" dirty="0" err="1">
                <a:solidFill>
                  <a:srgbClr val="862624"/>
                </a:solidFill>
              </a:rPr>
              <a:t>Teradix</a:t>
            </a:r>
            <a:r>
              <a:rPr lang="en-ZA" sz="2800" b="1" dirty="0">
                <a:solidFill>
                  <a:srgbClr val="862624"/>
                </a:solidFill>
              </a:rPr>
              <a:t>: Online procurement platform </a:t>
            </a:r>
            <a:endParaRPr lang="en-US" sz="2800" b="1" dirty="0">
              <a:solidFill>
                <a:srgbClr val="862624"/>
              </a:solidFill>
            </a:endParaRPr>
          </a:p>
        </p:txBody>
      </p:sp>
      <p:pic>
        <p:nvPicPr>
          <p:cNvPr id="2" name="Picture 1"/>
          <p:cNvPicPr preferRelativeResize="0">
            <a:picLocks/>
          </p:cNvPicPr>
          <p:nvPr/>
        </p:nvPicPr>
        <p:blipFill rotWithShape="1">
          <a:blip r:embed="rId7">
            <a:extLst>
              <a:ext uri="{28A0092B-C50C-407E-A947-70E740481C1C}">
                <a14:useLocalDpi xmlns:a14="http://schemas.microsoft.com/office/drawing/2010/main" val="0"/>
              </a:ext>
            </a:extLst>
          </a:blip>
          <a:srcRect l="7087" t="6602" r="5471" b="4982"/>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KHALED</a:t>
            </a:r>
          </a:p>
          <a:p>
            <a:pPr algn="ctr"/>
            <a:r>
              <a:rPr lang="en-US" sz="1400" dirty="0">
                <a:solidFill>
                  <a:srgbClr val="862624"/>
                </a:solidFill>
                <a:latin typeface="Garamond"/>
              </a:rPr>
              <a:t>Khaled is the CEO of </a:t>
            </a:r>
            <a:r>
              <a:rPr lang="en-US" sz="1400" dirty="0" err="1">
                <a:solidFill>
                  <a:srgbClr val="862624"/>
                </a:solidFill>
                <a:latin typeface="Garamond"/>
              </a:rPr>
              <a:t>Teradix</a:t>
            </a:r>
            <a:r>
              <a:rPr lang="en-US" sz="1400" dirty="0">
                <a:solidFill>
                  <a:srgbClr val="862624"/>
                </a:solidFill>
                <a:latin typeface="Garamond"/>
              </a:rPr>
              <a:t>.  He has been recognized by Forbes as one of the most promising young business leaders in Africa. He has a Bachelor's degree in Computer Engineering from </a:t>
            </a:r>
            <a:r>
              <a:rPr lang="en-US" sz="1400" dirty="0" err="1">
                <a:solidFill>
                  <a:srgbClr val="862624"/>
                </a:solidFill>
                <a:latin typeface="Garamond"/>
              </a:rPr>
              <a:t>Menoufia</a:t>
            </a:r>
            <a:r>
              <a:rPr lang="en-US" sz="1400" dirty="0">
                <a:solidFill>
                  <a:srgbClr val="862624"/>
                </a:solidFill>
                <a:latin typeface="Garamond"/>
              </a:rPr>
              <a:t> University and studied Entrepreneurship and Innovation at Kelley School of Business, Indiana University.</a:t>
            </a:r>
            <a:endParaRPr lang="en-US" sz="16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Teradix</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Teradix</a:t>
            </a:r>
            <a:r>
              <a:rPr lang="en-US" dirty="0">
                <a:solidFill>
                  <a:schemeClr val="tx1"/>
                </a:solidFill>
                <a:latin typeface="Garamond" panose="02020404030301010803" pitchFamily="18" charset="0"/>
              </a:rPr>
              <a:t> is a digital marketplace that connects buyers with the right suppliers by simplifying and fostering the process of getting competitive quotations. </a:t>
            </a:r>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Egypt</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2</a:t>
            </a:r>
          </a:p>
          <a:p>
            <a:pPr lvl="1"/>
            <a:endParaRPr lang="en-US" dirty="0">
              <a:solidFill>
                <a:schemeClr val="tx1"/>
              </a:solidFill>
              <a:latin typeface="Garamond" panose="02020404030301010803" pitchFamily="18" charset="0"/>
            </a:endParaRPr>
          </a:p>
        </p:txBody>
      </p:sp>
      <p:sp>
        <p:nvSpPr>
          <p:cNvPr id="4" name="Rectangular Callout 3"/>
          <p:cNvSpPr/>
          <p:nvPr/>
        </p:nvSpPr>
        <p:spPr>
          <a:xfrm>
            <a:off x="105551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Khaled </a:t>
            </a:r>
            <a:r>
              <a:rPr lang="en-ZA" sz="1400" dirty="0" err="1">
                <a:solidFill>
                  <a:schemeClr val="tx1"/>
                </a:solidFill>
                <a:latin typeface="Garamond" panose="02020404030301010803" pitchFamily="18" charset="0"/>
              </a:rPr>
              <a:t>Aboshady</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teradix.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ction="ppaction://hlinksldjump"/>
              </a:rPr>
              <a:t>khaled.aboshady@teradix.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0 106 338 8873</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0470508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641179A-E5F4-4B56-8419-DDA7661600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26"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B641179A-E5F4-4B56-8419-DDA7661600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14BAEEEE-8BB2-4799-95A4-D1F3995D13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0E00D6FD-3ADA-490C-BBC8-E4E7A09229C4}"/>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a:solidFill>
                  <a:srgbClr val="862624"/>
                </a:solidFill>
              </a:rPr>
              <a:t>Faustino </a:t>
            </a:r>
            <a:r>
              <a:rPr lang="en-ZA" sz="2800" b="1" dirty="0" err="1">
                <a:solidFill>
                  <a:srgbClr val="862624"/>
                </a:solidFill>
              </a:rPr>
              <a:t>Quissico</a:t>
            </a:r>
            <a:r>
              <a:rPr lang="en-ZA" sz="2800" b="1" dirty="0">
                <a:solidFill>
                  <a:srgbClr val="862624"/>
                </a:solidFill>
              </a:rPr>
              <a:t>– TQ Group Services: Hardwood flooring</a:t>
            </a:r>
            <a:endParaRPr lang="en-US" sz="2800" b="1" dirty="0">
              <a:solidFill>
                <a:srgbClr val="862624"/>
              </a:solidFill>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7579" t="5761" b="5761"/>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Garamond" panose="02020404030301010803" pitchFamily="18" charset="0"/>
              </a:rPr>
              <a:t>ABOUT FAUSTINO</a:t>
            </a:r>
          </a:p>
          <a:p>
            <a:pPr algn="ctr"/>
            <a:r>
              <a:rPr lang="en-US" sz="1400" dirty="0">
                <a:solidFill>
                  <a:schemeClr val="accent1"/>
                </a:solidFill>
                <a:latin typeface="Garamond"/>
              </a:rPr>
              <a:t>Faustino is the co-founder of the TQ Group Services. He was born and raised in Maputo by his maternal grandparents. Harnessing his entrepreneurial drive, with the desire to start something different, he brainstormed business ideas with one of his friends. In 2015, they came up with the idea to start TQ Group Services.</a:t>
            </a:r>
            <a:r>
              <a:rPr lang="en-US" sz="1400" dirty="0">
                <a:latin typeface="Garamond"/>
              </a:rPr>
              <a:t>.</a:t>
            </a:r>
            <a:endParaRPr lang="en-US" sz="1400" dirty="0">
              <a:solidFill>
                <a:srgbClr val="862624"/>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TQ Group Services</a:t>
            </a:r>
          </a:p>
          <a:p>
            <a:pPr lvl="1"/>
            <a:r>
              <a:rPr lang="en-US" b="1" dirty="0">
                <a:solidFill>
                  <a:schemeClr val="tx1"/>
                </a:solidFill>
                <a:latin typeface="Garamond"/>
              </a:rPr>
              <a:t>BUSINESS ACTIVITIES: </a:t>
            </a:r>
            <a:r>
              <a:rPr lang="en-US" dirty="0">
                <a:solidFill>
                  <a:schemeClr val="tx1"/>
                </a:solidFill>
                <a:latin typeface="Garamond"/>
              </a:rPr>
              <a:t>TQ Group Services is a construction company that produces hardwood floors (using locally-sourced raw materials) and provides pool construction and maintenance services. </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Mozambique</a:t>
            </a:r>
          </a:p>
          <a:p>
            <a:pPr lvl="1"/>
            <a:r>
              <a:rPr lang="en-US" b="1" dirty="0">
                <a:solidFill>
                  <a:schemeClr val="tx1"/>
                </a:solidFill>
                <a:latin typeface="Garamond"/>
              </a:rPr>
              <a:t>JOBS CREATED (Full &amp; Part Time): </a:t>
            </a:r>
            <a:r>
              <a:rPr lang="en-US" dirty="0">
                <a:solidFill>
                  <a:schemeClr val="tx1"/>
                </a:solidFill>
                <a:latin typeface="Garamond"/>
              </a:rPr>
              <a:t>21</a:t>
            </a:r>
            <a:endParaRPr lang="en-US" dirty="0">
              <a:solidFill>
                <a:schemeClr val="tx1"/>
              </a:solidFill>
            </a:endParaRPr>
          </a:p>
        </p:txBody>
      </p:sp>
      <p:sp>
        <p:nvSpPr>
          <p:cNvPr id="4" name="Rectangular Callout 3"/>
          <p:cNvSpPr/>
          <p:nvPr/>
        </p:nvSpPr>
        <p:spPr>
          <a:xfrm>
            <a:off x="1048795" y="4698125"/>
            <a:ext cx="3218400" cy="1888205"/>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Faustino </a:t>
            </a:r>
            <a:r>
              <a:rPr lang="en-ZA" sz="1400" dirty="0" err="1">
                <a:solidFill>
                  <a:schemeClr val="tx1"/>
                </a:solidFill>
                <a:latin typeface="Garamond" panose="02020404030301010803" pitchFamily="18" charset="0"/>
              </a:rPr>
              <a:t>Quissico</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a:t>
            </a:r>
          </a:p>
          <a:p>
            <a:r>
              <a:rPr lang="en-ZA" sz="1400" dirty="0">
                <a:solidFill>
                  <a:schemeClr val="tx1"/>
                </a:solidFill>
                <a:latin typeface="Garamond"/>
                <a:hlinkClick r:id="rId8"/>
              </a:rPr>
              <a:t>https://www.linkedin.com/in/faustino-quissico-6154b5114/</a:t>
            </a:r>
            <a:r>
              <a:rPr lang="en-ZA" sz="1400" dirty="0">
                <a:solidFill>
                  <a:schemeClr val="tx1"/>
                </a:solidFill>
                <a:latin typeface="Garamond"/>
              </a:rPr>
              <a:t> </a:t>
            </a:r>
            <a:endParaRPr lang="en-ZA" sz="1400" b="1"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p>
          <a:p>
            <a:r>
              <a:rPr lang="en-ZA" sz="1400" dirty="0">
                <a:solidFill>
                  <a:schemeClr val="tx1"/>
                </a:solidFill>
                <a:latin typeface="Garamond" panose="02020404030301010803" pitchFamily="18" charset="0"/>
                <a:hlinkClick r:id="rId9"/>
              </a:rPr>
              <a:t>quissico.faustino@gmail.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58 841 069 05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959614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427D953C-8D64-4AE6-8C43-83A51D6DCF92}"/>
              </a:ext>
            </a:extLst>
          </p:cNvPr>
          <p:cNvGraphicFramePr>
            <a:graphicFrameLocks noChangeAspect="1"/>
          </p:cNvGraphicFramePr>
          <p:nvPr>
            <p:custDataLst>
              <p:tags r:id="rId2"/>
            </p:custDataLst>
            <p:extLst>
              <p:ext uri="{D42A27DB-BD31-4B8C-83A1-F6EECF244321}">
                <p14:modId xmlns:p14="http://schemas.microsoft.com/office/powerpoint/2010/main" val="45129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916"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5B498D83-E0E7-4B58-A841-AB8F011282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DC33C76C-1685-489B-8FA4-9B5D41E77698}"/>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err="1">
                <a:solidFill>
                  <a:srgbClr val="862624"/>
                </a:solidFill>
              </a:rPr>
              <a:t>Abdulwaheed</a:t>
            </a:r>
            <a:r>
              <a:rPr lang="en-ZA" sz="2800" b="1" dirty="0">
                <a:solidFill>
                  <a:srgbClr val="862624"/>
                </a:solidFill>
              </a:rPr>
              <a:t> </a:t>
            </a:r>
            <a:r>
              <a:rPr lang="en-ZA" sz="2800" b="1" dirty="0" err="1">
                <a:solidFill>
                  <a:srgbClr val="862624"/>
                </a:solidFill>
              </a:rPr>
              <a:t>Alayande</a:t>
            </a:r>
            <a:r>
              <a:rPr lang="en-ZA" sz="2800" b="1" dirty="0">
                <a:solidFill>
                  <a:srgbClr val="862624"/>
                </a:solidFill>
              </a:rPr>
              <a:t> – </a:t>
            </a:r>
            <a:r>
              <a:rPr lang="en-ZA" sz="2800" b="1" dirty="0" err="1">
                <a:solidFill>
                  <a:srgbClr val="862624"/>
                </a:solidFill>
              </a:rPr>
              <a:t>TrepLabs</a:t>
            </a:r>
            <a:r>
              <a:rPr lang="en-ZA" sz="2800" b="1" dirty="0">
                <a:solidFill>
                  <a:srgbClr val="862624"/>
                </a:solidFill>
              </a:rPr>
              <a:t>: Builds low-cost clinical tools</a:t>
            </a:r>
            <a:endParaRPr lang="en-US" sz="2800" b="1" dirty="0">
              <a:solidFill>
                <a:srgbClr val="862624"/>
              </a:solidFill>
            </a:endParaRPr>
          </a:p>
        </p:txBody>
      </p:sp>
      <p:pic>
        <p:nvPicPr>
          <p:cNvPr id="2" name="Picture 1"/>
          <p:cNvPicPr preferRelativeResize="0">
            <a:picLocks/>
          </p:cNvPicPr>
          <p:nvPr/>
        </p:nvPicPr>
        <p:blipFill rotWithShape="1">
          <a:blip r:embed="rId7">
            <a:extLst>
              <a:ext uri="{28A0092B-C50C-407E-A947-70E740481C1C}">
                <a14:useLocalDpi xmlns:a14="http://schemas.microsoft.com/office/drawing/2010/main" val="0"/>
              </a:ext>
            </a:extLst>
          </a:blip>
          <a:srcRect l="3773" t="3468" r="3773" b="8053"/>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ABDULWAHEED</a:t>
            </a:r>
          </a:p>
          <a:p>
            <a:pPr algn="ctr"/>
            <a:r>
              <a:rPr lang="en-ZA" sz="1400" dirty="0" err="1">
                <a:solidFill>
                  <a:srgbClr val="862624"/>
                </a:solidFill>
                <a:latin typeface="Garamond" panose="02020404030301010803" pitchFamily="18" charset="0"/>
              </a:rPr>
              <a:t>Abdulwaheed</a:t>
            </a:r>
            <a:r>
              <a:rPr lang="en-ZA" sz="1400" dirty="0">
                <a:solidFill>
                  <a:srgbClr val="862624"/>
                </a:solidFill>
                <a:latin typeface="Garamond" panose="02020404030301010803" pitchFamily="18" charset="0"/>
              </a:rPr>
              <a:t> is the founder of </a:t>
            </a:r>
            <a:r>
              <a:rPr lang="en-ZA" sz="1400" dirty="0" err="1">
                <a:solidFill>
                  <a:srgbClr val="862624"/>
                </a:solidFill>
                <a:latin typeface="Garamond" panose="02020404030301010803" pitchFamily="18" charset="0"/>
              </a:rPr>
              <a:t>TrepLabs</a:t>
            </a:r>
            <a:r>
              <a:rPr lang="en-ZA" sz="1400" dirty="0">
                <a:solidFill>
                  <a:srgbClr val="862624"/>
                </a:solidFill>
                <a:latin typeface="Garamond" panose="02020404030301010803" pitchFamily="18" charset="0"/>
              </a:rPr>
              <a:t>. He believes that he is the bridge between technology and people. Curious about how technology will influence and shape the future, </a:t>
            </a:r>
            <a:r>
              <a:rPr lang="en-ZA" sz="1400" dirty="0" err="1">
                <a:solidFill>
                  <a:srgbClr val="862624"/>
                </a:solidFill>
                <a:latin typeface="Garamond" panose="02020404030301010803" pitchFamily="18" charset="0"/>
              </a:rPr>
              <a:t>Abdulwaheed</a:t>
            </a:r>
            <a:r>
              <a:rPr lang="en-ZA" sz="1400" dirty="0">
                <a:solidFill>
                  <a:srgbClr val="862624"/>
                </a:solidFill>
                <a:latin typeface="Garamond" panose="02020404030301010803" pitchFamily="18" charset="0"/>
              </a:rPr>
              <a:t> is confident that we will see that impact that technology can have in healthcare and he wants to be at the centre of that discovery. </a:t>
            </a:r>
          </a:p>
          <a:p>
            <a:pPr algn="ctr"/>
            <a:endParaRPr lang="en-US" sz="14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TrepLabs</a:t>
            </a:r>
            <a:endParaRPr lang="en-US" dirty="0">
              <a:solidFill>
                <a:schemeClr val="tx1"/>
              </a:solidFill>
              <a:latin typeface="Garamond" panose="02020404030301010803" pitchFamily="18" charset="0"/>
            </a:endParaRPr>
          </a:p>
          <a:p>
            <a:pPr lvl="1"/>
            <a:r>
              <a:rPr lang="en-US" b="1" dirty="0">
                <a:solidFill>
                  <a:schemeClr val="tx1"/>
                </a:solidFill>
                <a:latin typeface="Garamond" panose="02020404030301010803" pitchFamily="18" charset="0"/>
              </a:rPr>
              <a:t>BUSINESS ACTIVITIES: </a:t>
            </a:r>
            <a:r>
              <a:rPr lang="en-ZA" dirty="0" err="1">
                <a:solidFill>
                  <a:schemeClr val="tx1"/>
                </a:solidFill>
                <a:latin typeface="Garamond" panose="02020404030301010803" pitchFamily="18" charset="0"/>
              </a:rPr>
              <a:t>TrepLabs</a:t>
            </a:r>
            <a:r>
              <a:rPr lang="en-ZA" dirty="0">
                <a:solidFill>
                  <a:schemeClr val="tx1"/>
                </a:solidFill>
                <a:latin typeface="Garamond" panose="02020404030301010803" pitchFamily="18" charset="0"/>
              </a:rPr>
              <a:t> is designed to provide and build low-cost clinical tools that aid in infusion therapy. Their first product, the </a:t>
            </a:r>
            <a:r>
              <a:rPr lang="en-ZA" dirty="0" err="1">
                <a:solidFill>
                  <a:schemeClr val="tx1"/>
                </a:solidFill>
                <a:latin typeface="Garamond" panose="02020404030301010803" pitchFamily="18" charset="0"/>
              </a:rPr>
              <a:t>Realdrip</a:t>
            </a:r>
            <a:r>
              <a:rPr lang="en-ZA" dirty="0">
                <a:solidFill>
                  <a:schemeClr val="tx1"/>
                </a:solidFill>
                <a:latin typeface="Garamond" panose="02020404030301010803" pitchFamily="18" charset="0"/>
              </a:rPr>
              <a:t> Device, is a non-invasive device that makes blood transfusion and drip treatment simpler and enables automation of the treatment proces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Nigeri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7</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Abdulwaheed</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Alayande</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treplabs.co</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ction="ppaction://hlinksldjump"/>
              </a:rPr>
              <a:t>abiola@treplabs.co</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4 806 353 798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576085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5C5C9B18-DEA6-4DE5-836B-04E95D9FA4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0269"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xmlns="" id="{5C5C9B18-DEA6-4DE5-836B-04E95D9FA41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0CA7E6F1-5646-4871-8A64-54100EB802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61BB751C-0678-43F1-9B48-67F429655768}"/>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err="1">
                <a:solidFill>
                  <a:srgbClr val="862624"/>
                </a:solidFill>
              </a:rPr>
              <a:t>Saudah</a:t>
            </a:r>
            <a:r>
              <a:rPr lang="en-ZA" sz="2800" b="1" dirty="0">
                <a:solidFill>
                  <a:srgbClr val="862624"/>
                </a:solidFill>
              </a:rPr>
              <a:t> Birungi – </a:t>
            </a:r>
            <a:r>
              <a:rPr lang="en-ZA" sz="2800" b="1" dirty="0" err="1">
                <a:solidFill>
                  <a:srgbClr val="862624"/>
                </a:solidFill>
              </a:rPr>
              <a:t>Tusafishe</a:t>
            </a:r>
            <a:r>
              <a:rPr lang="en-ZA" sz="2800" b="1" dirty="0">
                <a:solidFill>
                  <a:srgbClr val="862624"/>
                </a:solidFill>
              </a:rPr>
              <a:t>: Automated low-cost water filters</a:t>
            </a:r>
          </a:p>
        </p:txBody>
      </p:sp>
      <p:pic>
        <p:nvPicPr>
          <p:cNvPr id="2" name="Picture 1"/>
          <p:cNvPicPr>
            <a:picLocks noChangeAspect="1"/>
          </p:cNvPicPr>
          <p:nvPr/>
        </p:nvPicPr>
        <p:blipFill rotWithShape="1">
          <a:blip r:embed="rId8" cstate="print">
            <a:extLst>
              <a:ext uri="{28A0092B-C50C-407E-A947-70E740481C1C}">
                <a14:useLocalDpi xmlns:a14="http://schemas.microsoft.com/office/drawing/2010/main" val="0"/>
              </a:ext>
            </a:extLst>
          </a:blip>
          <a:srcRect l="10639" t="3535" r="17472" b="8048"/>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a:rPr>
              <a:t>ABOUT SAUDAH</a:t>
            </a:r>
            <a:endParaRPr lang="en-US" sz="1600" b="1" dirty="0">
              <a:solidFill>
                <a:srgbClr val="862624"/>
              </a:solidFill>
              <a:latin typeface="Garamond" panose="02020404030301010803" pitchFamily="18" charset="0"/>
            </a:endParaRPr>
          </a:p>
          <a:p>
            <a:pPr algn="ctr"/>
            <a:r>
              <a:rPr lang="en-US" sz="1400" dirty="0" err="1">
                <a:solidFill>
                  <a:srgbClr val="862624"/>
                </a:solidFill>
                <a:latin typeface="Garamond"/>
              </a:rPr>
              <a:t>Saudah</a:t>
            </a:r>
            <a:r>
              <a:rPr lang="en-US" sz="1400" dirty="0">
                <a:solidFill>
                  <a:srgbClr val="862624"/>
                </a:solidFill>
                <a:latin typeface="Garamond"/>
              </a:rPr>
              <a:t> is the co-founder and Sales and Marketing Director of </a:t>
            </a:r>
            <a:r>
              <a:rPr lang="en-US" sz="1400" dirty="0" err="1">
                <a:solidFill>
                  <a:srgbClr val="862624"/>
                </a:solidFill>
                <a:latin typeface="Garamond"/>
              </a:rPr>
              <a:t>Tusafishe</a:t>
            </a:r>
            <a:r>
              <a:rPr lang="en-US" sz="1400" dirty="0">
                <a:solidFill>
                  <a:srgbClr val="862624"/>
                </a:solidFill>
                <a:latin typeface="Garamond"/>
              </a:rPr>
              <a:t>. She is a graduate in Social Entrepreneurship from the School of Social Innovation and is currently studying for a degree in Business Administration. In 2012, her</a:t>
            </a:r>
            <a:r>
              <a:rPr lang="en-US" sz="1400" dirty="0">
                <a:solidFill>
                  <a:schemeClr val="accent1"/>
                </a:solidFill>
                <a:latin typeface="Garamond"/>
              </a:rPr>
              <a:t> brother</a:t>
            </a:r>
            <a:r>
              <a:rPr lang="en-US" sz="1400" dirty="0">
                <a:solidFill>
                  <a:schemeClr val="accent1"/>
                </a:solidFill>
                <a:latin typeface="Garamond"/>
                <a:ea typeface="+mn-lt"/>
                <a:cs typeface="+mn-lt"/>
              </a:rPr>
              <a:t> passed away because of </a:t>
            </a:r>
            <a:r>
              <a:rPr lang="en-US" sz="1400" dirty="0" err="1">
                <a:solidFill>
                  <a:schemeClr val="accent1"/>
                </a:solidFill>
                <a:latin typeface="Garamond"/>
                <a:ea typeface="+mn-lt"/>
                <a:cs typeface="+mn-lt"/>
              </a:rPr>
              <a:t>diarrhoea</a:t>
            </a:r>
            <a:r>
              <a:rPr lang="en-US" sz="1400" dirty="0">
                <a:solidFill>
                  <a:schemeClr val="accent1"/>
                </a:solidFill>
                <a:latin typeface="Garamond"/>
                <a:ea typeface="+mn-lt"/>
                <a:cs typeface="+mn-lt"/>
              </a:rPr>
              <a:t> (caused by the lack of access to clean water in his school). From then on she vowed to make sure school children, homes, and communities like hers would have access to clean water.</a:t>
            </a:r>
            <a:endParaRPr lang="en-US" sz="1400" dirty="0">
              <a:solidFill>
                <a:schemeClr val="accent1"/>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err="1">
                <a:solidFill>
                  <a:schemeClr val="tx1"/>
                </a:solidFill>
                <a:latin typeface="Garamond"/>
              </a:rPr>
              <a:t>Tusafishe</a:t>
            </a:r>
            <a:endParaRPr lang="en-US" dirty="0" err="1">
              <a:solidFill>
                <a:schemeClr val="tx1"/>
              </a:solidFill>
            </a:endParaRPr>
          </a:p>
          <a:p>
            <a:pPr lvl="1"/>
            <a:r>
              <a:rPr lang="en-US" b="1" dirty="0">
                <a:solidFill>
                  <a:schemeClr val="tx1"/>
                </a:solidFill>
                <a:latin typeface="Garamond"/>
              </a:rPr>
              <a:t>BUSINESS ACTIVITIES: </a:t>
            </a:r>
            <a:r>
              <a:rPr lang="en-US" dirty="0" err="1">
                <a:solidFill>
                  <a:schemeClr val="tx1"/>
                </a:solidFill>
                <a:latin typeface="Garamond"/>
              </a:rPr>
              <a:t>Tusafishe</a:t>
            </a:r>
            <a:r>
              <a:rPr lang="en-US" dirty="0">
                <a:solidFill>
                  <a:schemeClr val="tx1"/>
                </a:solidFill>
                <a:latin typeface="Garamond"/>
              </a:rPr>
              <a:t> produces automated low-cost filters </a:t>
            </a:r>
            <a:r>
              <a:rPr lang="en-US" dirty="0">
                <a:solidFill>
                  <a:schemeClr val="tx1"/>
                </a:solidFill>
                <a:latin typeface="Garamond"/>
                <a:ea typeface="+mn-lt"/>
                <a:cs typeface="+mn-lt"/>
              </a:rPr>
              <a:t>to provide safe drinking water for large communities. </a:t>
            </a:r>
            <a:r>
              <a:rPr lang="en-US" b="1" dirty="0">
                <a:solidFill>
                  <a:schemeClr val="tx1"/>
                </a:solidFill>
                <a:latin typeface="Garamond"/>
              </a:rPr>
              <a:t>BUSINESS LOCATION: </a:t>
            </a:r>
            <a:r>
              <a:rPr lang="en-US" dirty="0">
                <a:solidFill>
                  <a:schemeClr val="tx1"/>
                </a:solidFill>
                <a:latin typeface="Garamond"/>
              </a:rPr>
              <a:t>Uganda</a:t>
            </a:r>
          </a:p>
          <a:p>
            <a:pPr lvl="1"/>
            <a:r>
              <a:rPr lang="en-US" b="1" dirty="0">
                <a:solidFill>
                  <a:schemeClr val="tx1"/>
                </a:solidFill>
                <a:latin typeface="Garamond"/>
              </a:rPr>
              <a:t>JOBS CREATED (Full &amp; Part Time): </a:t>
            </a:r>
            <a:r>
              <a:rPr lang="en-US" dirty="0">
                <a:solidFill>
                  <a:schemeClr val="tx1"/>
                </a:solidFill>
                <a:latin typeface="Garamond"/>
              </a:rPr>
              <a:t>9</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err="1">
                <a:solidFill>
                  <a:schemeClr val="tx1"/>
                </a:solidFill>
                <a:latin typeface="Garamond"/>
              </a:rPr>
              <a:t>Saudah</a:t>
            </a:r>
            <a:r>
              <a:rPr lang="en-ZA" sz="1400" dirty="0">
                <a:solidFill>
                  <a:schemeClr val="tx1"/>
                </a:solidFill>
                <a:latin typeface="Garamond"/>
              </a:rPr>
              <a:t> Birungi </a:t>
            </a:r>
            <a:endParaRPr lang="en-ZA" sz="1400" dirty="0">
              <a:solidFill>
                <a:schemeClr val="tx1"/>
              </a:solidFill>
              <a:latin typeface="Garamond" panose="02020404030301010803" pitchFamily="18" charset="0"/>
            </a:endParaRPr>
          </a:p>
          <a:p>
            <a:r>
              <a:rPr lang="en-ZA" sz="1400" b="1" dirty="0">
                <a:solidFill>
                  <a:schemeClr val="tx1"/>
                </a:solidFill>
                <a:latin typeface="Garamond"/>
              </a:rPr>
              <a:t>Website: </a:t>
            </a:r>
            <a:r>
              <a:rPr lang="en-ZA" sz="1400" dirty="0">
                <a:solidFill>
                  <a:schemeClr val="tx1"/>
                </a:solidFill>
                <a:latin typeface="Garamond"/>
                <a:hlinkClick r:id="rId9"/>
              </a:rPr>
              <a:t>https://tusafishe.com</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a:rPr>
              <a:t>Email: </a:t>
            </a:r>
            <a:r>
              <a:rPr lang="en-ZA" sz="1400" dirty="0">
                <a:latin typeface="Garamond"/>
                <a:ea typeface="+mn-lt"/>
                <a:cs typeface="+mn-lt"/>
                <a:hlinkClick r:id="rId10"/>
              </a:rPr>
              <a:t>saudah@tusafishe.com</a:t>
            </a:r>
            <a:endParaRPr lang="en-ZA" sz="1400" dirty="0">
              <a:solidFill>
                <a:schemeClr val="tx1"/>
              </a:solidFill>
              <a:latin typeface="Garamond"/>
            </a:endParaRPr>
          </a:p>
          <a:p>
            <a:r>
              <a:rPr lang="en-ZA" sz="1400" b="1" dirty="0">
                <a:solidFill>
                  <a:schemeClr val="tx1"/>
                </a:solidFill>
                <a:latin typeface="Garamond"/>
              </a:rPr>
              <a:t>WhatsApp: </a:t>
            </a:r>
            <a:r>
              <a:rPr lang="en-ZA" sz="1400" dirty="0">
                <a:solidFill>
                  <a:schemeClr val="tx1"/>
                </a:solidFill>
                <a:latin typeface="Garamond"/>
              </a:rPr>
              <a:t>+256 786 261 502</a:t>
            </a:r>
            <a:endParaRPr lang="en-GB" sz="1400" dirty="0">
              <a:solidFill>
                <a:schemeClr val="tx1"/>
              </a:solidFill>
              <a:latin typeface="Garamond"/>
            </a:endParaRPr>
          </a:p>
        </p:txBody>
      </p:sp>
    </p:spTree>
    <p:extLst>
      <p:ext uri="{BB962C8B-B14F-4D97-AF65-F5344CB8AC3E}">
        <p14:creationId xmlns:p14="http://schemas.microsoft.com/office/powerpoint/2010/main" val="30140706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F23944B0-C956-4B8F-9523-7C82BBA0F665}"/>
              </a:ext>
            </a:extLst>
          </p:cNvPr>
          <p:cNvGraphicFramePr>
            <a:graphicFrameLocks noChangeAspect="1"/>
          </p:cNvGraphicFramePr>
          <p:nvPr>
            <p:custDataLst>
              <p:tags r:id="rId2"/>
            </p:custDataLst>
            <p:extLst>
              <p:ext uri="{D42A27DB-BD31-4B8C-83A1-F6EECF244321}">
                <p14:modId xmlns:p14="http://schemas.microsoft.com/office/powerpoint/2010/main" val="2051054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3797"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63AC77EA-9BDE-4E73-9CD9-9596681D9EB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F67F03AE-DA58-4E81-A092-7E13C3D14E78}"/>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800" b="1" dirty="0" err="1">
                <a:solidFill>
                  <a:srgbClr val="862624"/>
                </a:solidFill>
                <a:latin typeface="Garamond"/>
              </a:rPr>
              <a:t>Koffi</a:t>
            </a:r>
            <a:r>
              <a:rPr lang="en-ZA" sz="2800" b="1" dirty="0">
                <a:solidFill>
                  <a:srgbClr val="862624"/>
                </a:solidFill>
                <a:latin typeface="Garamond"/>
              </a:rPr>
              <a:t> </a:t>
            </a:r>
            <a:r>
              <a:rPr lang="en-ZA" sz="2800" b="1" dirty="0" err="1">
                <a:solidFill>
                  <a:srgbClr val="862624"/>
                </a:solidFill>
                <a:latin typeface="Garamond"/>
              </a:rPr>
              <a:t>N’guessan</a:t>
            </a:r>
            <a:r>
              <a:rPr lang="en-ZA" sz="2800" b="1" dirty="0">
                <a:solidFill>
                  <a:srgbClr val="862624"/>
                </a:solidFill>
                <a:latin typeface="Garamond"/>
              </a:rPr>
              <a:t> – TYEGRO-CI: </a:t>
            </a:r>
            <a:r>
              <a:rPr lang="en-ZA" sz="2800" b="1" dirty="0" err="1">
                <a:solidFill>
                  <a:srgbClr val="862624"/>
                </a:solidFill>
                <a:latin typeface="Garamond"/>
              </a:rPr>
              <a:t>Agri</a:t>
            </a:r>
            <a:r>
              <a:rPr lang="en-ZA" sz="2800" b="1" dirty="0">
                <a:solidFill>
                  <a:srgbClr val="862624"/>
                </a:solidFill>
                <a:latin typeface="Garamond"/>
              </a:rPr>
              <a:t>-food supplier</a:t>
            </a:r>
            <a:endParaRPr lang="en-US" sz="2800" b="1" dirty="0">
              <a:solidFill>
                <a:srgbClr val="862624"/>
              </a:solidFill>
              <a:latin typeface="Garamond"/>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5627" t="1789" r="5627" b="47639"/>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2"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KOFFI</a:t>
            </a:r>
          </a:p>
          <a:p>
            <a:pPr algn="ctr"/>
            <a:r>
              <a:rPr lang="en-US" sz="1400" dirty="0" err="1">
                <a:solidFill>
                  <a:srgbClr val="862624"/>
                </a:solidFill>
                <a:latin typeface="Garamond" panose="02020404030301010803" pitchFamily="18" charset="0"/>
              </a:rPr>
              <a:t>Koffi</a:t>
            </a:r>
            <a:r>
              <a:rPr lang="en-US" sz="1400" dirty="0">
                <a:solidFill>
                  <a:srgbClr val="862624"/>
                </a:solidFill>
                <a:latin typeface="Garamond" panose="02020404030301010803" pitchFamily="18" charset="0"/>
              </a:rPr>
              <a:t> is the founder of TYEGRO-CI. He was born to a farmer and a housewife. Growing up, he gained his primary education at the EPP in </a:t>
            </a:r>
            <a:r>
              <a:rPr lang="en-US" sz="1400" dirty="0" err="1">
                <a:solidFill>
                  <a:srgbClr val="862624"/>
                </a:solidFill>
                <a:latin typeface="Garamond" panose="02020404030301010803" pitchFamily="18" charset="0"/>
              </a:rPr>
              <a:t>Dabouyo</a:t>
            </a:r>
            <a:r>
              <a:rPr lang="en-US" sz="1400" dirty="0">
                <a:solidFill>
                  <a:srgbClr val="862624"/>
                </a:solidFill>
                <a:latin typeface="Garamond" panose="02020404030301010803" pitchFamily="18" charset="0"/>
              </a:rPr>
              <a:t>. He was appointed by the president of the school to raise funds for two years in order to build three classrooms– an experience that hallmarked the start of his entrepreneurial leadership journey. He has won many prizes in his country and across the African continent because of his innovative approach to </a:t>
            </a:r>
            <a:r>
              <a:rPr lang="en-US" sz="1400" dirty="0" err="1">
                <a:solidFill>
                  <a:srgbClr val="862624"/>
                </a:solidFill>
                <a:latin typeface="Garamond" panose="02020404030301010803" pitchFamily="18" charset="0"/>
              </a:rPr>
              <a:t>agri</a:t>
            </a:r>
            <a:r>
              <a:rPr lang="en-US" sz="1400" dirty="0">
                <a:solidFill>
                  <a:srgbClr val="862624"/>
                </a:solidFill>
                <a:latin typeface="Garamond" panose="02020404030301010803" pitchFamily="18" charset="0"/>
              </a:rPr>
              <a:t>-food supply.</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TYEGRO-CI</a:t>
            </a:r>
          </a:p>
          <a:p>
            <a:pPr lvl="1"/>
            <a:r>
              <a:rPr lang="en-US" b="1" dirty="0">
                <a:solidFill>
                  <a:schemeClr val="tx1"/>
                </a:solidFill>
                <a:latin typeface="Garamond" panose="02020404030301010803" pitchFamily="18" charset="0"/>
              </a:rPr>
              <a:t>BUSINESS ACTIVITIES: </a:t>
            </a:r>
            <a:r>
              <a:rPr lang="en-ZA" dirty="0">
                <a:solidFill>
                  <a:schemeClr val="tx1"/>
                </a:solidFill>
                <a:latin typeface="Garamond" panose="02020404030301010803" pitchFamily="18" charset="0"/>
              </a:rPr>
              <a:t>TYEGRO-CI is a company that operates in the agro-industry field and is distinguished by its agricultural innovation.</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Ivory Coast</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48</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err="1">
                <a:solidFill>
                  <a:schemeClr val="tx1"/>
                </a:solidFill>
                <a:latin typeface="Garamond"/>
              </a:rPr>
              <a:t>Koffi</a:t>
            </a:r>
            <a:r>
              <a:rPr lang="en-ZA" sz="1400" dirty="0">
                <a:solidFill>
                  <a:schemeClr val="tx1"/>
                </a:solidFill>
                <a:latin typeface="Garamond"/>
              </a:rPr>
              <a:t> </a:t>
            </a:r>
            <a:r>
              <a:rPr lang="en-ZA" sz="1400" dirty="0" err="1">
                <a:solidFill>
                  <a:schemeClr val="tx1"/>
                </a:solidFill>
                <a:latin typeface="Garamond"/>
              </a:rPr>
              <a:t>N’guessan</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US" sz="1400" dirty="0">
                <a:solidFill>
                  <a:schemeClr val="tx1"/>
                </a:solidFill>
                <a:latin typeface="Garamond" panose="02020404030301010803" pitchFamily="18" charset="0"/>
                <a:hlinkClick r:id="rId8"/>
              </a:rPr>
              <a:t>https://www.linkedin.com/in/koffi-jacques-n-guessan-607966144/</a:t>
            </a:r>
            <a:r>
              <a:rPr lang="en-US" sz="1400" dirty="0">
                <a:solidFill>
                  <a:schemeClr val="tx1"/>
                </a:solidFill>
                <a:latin typeface="Garamond" panose="02020404030301010803" pitchFamily="18" charset="0"/>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a:rPr>
              <a:t>Email: </a:t>
            </a:r>
            <a:r>
              <a:rPr lang="en-ZA" sz="1400" dirty="0">
                <a:solidFill>
                  <a:schemeClr val="tx1"/>
                </a:solidFill>
                <a:latin typeface="Garamond"/>
                <a:hlinkClick r:id="rId9"/>
              </a:rPr>
              <a:t>nfo.tyegroci@gmail.com</a:t>
            </a:r>
            <a:r>
              <a:rPr lang="en-ZA" sz="1400" dirty="0">
                <a:solidFill>
                  <a:schemeClr val="tx1"/>
                </a:solidFill>
                <a:latin typeface="Garamond"/>
              </a:rPr>
              <a:t>           </a:t>
            </a:r>
            <a:endParaRPr lang="en-GB"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25 065 799 19</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447815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47A5B183-4262-4ADE-BB04-433147356E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328"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47A5B183-4262-4ADE-BB04-433147356E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93F95668-DB22-451D-A6BF-5C6510E584E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90D140FB-559C-44C7-A619-8385DA95C033}"/>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a:solidFill>
                  <a:srgbClr val="862624"/>
                </a:solidFill>
              </a:rPr>
              <a:t>Joan </a:t>
            </a:r>
            <a:r>
              <a:rPr lang="en-ZA" sz="2800" b="1" dirty="0" err="1">
                <a:solidFill>
                  <a:srgbClr val="862624"/>
                </a:solidFill>
              </a:rPr>
              <a:t>Nalubega</a:t>
            </a:r>
            <a:r>
              <a:rPr lang="en-ZA" sz="2800" b="1" dirty="0">
                <a:solidFill>
                  <a:srgbClr val="862624"/>
                </a:solidFill>
              </a:rPr>
              <a:t>– </a:t>
            </a:r>
            <a:r>
              <a:rPr lang="en-ZA" sz="2800" b="1" dirty="0" err="1">
                <a:solidFill>
                  <a:srgbClr val="862624"/>
                </a:solidFill>
              </a:rPr>
              <a:t>Uganics</a:t>
            </a:r>
            <a:r>
              <a:rPr lang="en-ZA" sz="2800" b="1" dirty="0">
                <a:solidFill>
                  <a:srgbClr val="862624"/>
                </a:solidFill>
              </a:rPr>
              <a:t>: Mosquito repellent soap and products</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5177" t="1065" r="24539" b="10531"/>
          <a:stretch/>
        </p:blipFill>
        <p:spPr>
          <a:xfrm>
            <a:off x="1293713"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448710" y="4623371"/>
            <a:ext cx="6524091" cy="1895171"/>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JOAN</a:t>
            </a:r>
          </a:p>
          <a:p>
            <a:pPr algn="ctr"/>
            <a:r>
              <a:rPr lang="en-US" sz="1400" dirty="0">
                <a:solidFill>
                  <a:schemeClr val="accent1"/>
                </a:solidFill>
                <a:latin typeface="Garamond"/>
              </a:rPr>
              <a:t>Growing up in an orphanage, Joan often found herself falling ill with Malaria. After receiving social entrepreneurship training, Joan was inspired to create a venture that would tackle the disease that she had constantly battled with in her younger years. Subsequently, she started </a:t>
            </a:r>
            <a:r>
              <a:rPr lang="en-US" sz="1400" dirty="0" err="1">
                <a:solidFill>
                  <a:schemeClr val="accent1"/>
                </a:solidFill>
                <a:latin typeface="Garamond"/>
              </a:rPr>
              <a:t>Uganics</a:t>
            </a:r>
            <a:r>
              <a:rPr lang="en-US" sz="1400" dirty="0">
                <a:solidFill>
                  <a:schemeClr val="accent1"/>
                </a:solidFill>
                <a:latin typeface="Garamond"/>
              </a:rPr>
              <a:t> to tackle malaria, a disease that is still pervasive in Uganda.</a:t>
            </a:r>
          </a:p>
          <a:p>
            <a:pPr algn="ctr"/>
            <a:endParaRPr lang="en-US" sz="1400" dirty="0">
              <a:solidFill>
                <a:schemeClr val="accent1"/>
              </a:solidFill>
              <a:latin typeface="Garamond"/>
            </a:endParaRPr>
          </a:p>
        </p:txBody>
      </p:sp>
      <p:sp>
        <p:nvSpPr>
          <p:cNvPr id="3" name="Rectangle 2"/>
          <p:cNvSpPr/>
          <p:nvPr/>
        </p:nvSpPr>
        <p:spPr>
          <a:xfrm>
            <a:off x="4524703" y="1671145"/>
            <a:ext cx="6448097" cy="2797200"/>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Uganics</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err="1">
                <a:solidFill>
                  <a:schemeClr val="tx1"/>
                </a:solidFill>
                <a:latin typeface="Garamond"/>
              </a:rPr>
              <a:t>Uganics</a:t>
            </a:r>
            <a:r>
              <a:rPr lang="en-US" dirty="0">
                <a:solidFill>
                  <a:schemeClr val="tx1"/>
                </a:solidFill>
                <a:latin typeface="Garamond"/>
              </a:rPr>
              <a:t> combats malaria by producing a long-lasting mosquito repellent soap that can be used by children and families for both bathing and washing linen.</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a:rPr>
              <a:t>JOBS CREATED (Full &amp; Part Time): </a:t>
            </a:r>
            <a:r>
              <a:rPr lang="en-US" dirty="0">
                <a:solidFill>
                  <a:schemeClr val="tx1"/>
                </a:solidFill>
                <a:latin typeface="Garamond"/>
              </a:rPr>
              <a:t>6</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Joan </a:t>
            </a:r>
            <a:r>
              <a:rPr lang="en-ZA" sz="1400" dirty="0" err="1">
                <a:solidFill>
                  <a:schemeClr val="tx1"/>
                </a:solidFill>
                <a:latin typeface="Garamond"/>
              </a:rPr>
              <a:t>Nalubega</a:t>
            </a:r>
            <a:endParaRPr lang="en-ZA" sz="1400" dirty="0">
              <a:solidFill>
                <a:schemeClr val="tx1"/>
              </a:solidFill>
              <a:latin typeface="Garamond"/>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uganics.org/</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uganics@gmail.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56 705 553 704</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198457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E8900339-2114-4C3C-B86F-A960690AAA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574"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xmlns="" id="{E8900339-2114-4C3C-B86F-A960690AAA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2D0C9C64-8208-4345-857A-3A50B6BE177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EB63826F-C9C8-4F72-99C6-91E53EE5EAEA}"/>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660500" cy="609600"/>
          </a:xfrm>
        </p:spPr>
        <p:txBody>
          <a:bodyPr anchor="t">
            <a:noAutofit/>
          </a:bodyPr>
          <a:lstStyle/>
          <a:p>
            <a:r>
              <a:rPr lang="en-ZA" sz="2800" b="1" dirty="0">
                <a:solidFill>
                  <a:srgbClr val="862624"/>
                </a:solidFill>
                <a:latin typeface="Garamond"/>
              </a:rPr>
              <a:t>Ibrahima Konate – </a:t>
            </a:r>
            <a:r>
              <a:rPr lang="en-US" sz="2800" b="1" dirty="0">
                <a:solidFill>
                  <a:srgbClr val="862624"/>
                </a:solidFill>
                <a:latin typeface="Garamond"/>
              </a:rPr>
              <a:t>Volaille</a:t>
            </a:r>
            <a:r>
              <a:rPr lang="en-ZA" sz="2800" b="1">
                <a:solidFill>
                  <a:srgbClr val="862624"/>
                </a:solidFill>
                <a:latin typeface="Garamond"/>
              </a:rPr>
              <a:t> d'Or: Poultry &amp; agri-foods supplier</a:t>
            </a:r>
            <a:endParaRPr lang="en-US" sz="2800" b="1">
              <a:solidFill>
                <a:srgbClr val="862624"/>
              </a:solidFill>
              <a:latin typeface="Garamond"/>
            </a:endParaRPr>
          </a:p>
        </p:txBody>
      </p:sp>
      <p:pic>
        <p:nvPicPr>
          <p:cNvPr id="2" name="Picture 1" descr="A picture containing person, holding, standing, young&#10;&#10;Description generated with very high confidence"/>
          <p:cNvPicPr>
            <a:picLocks noChangeAspect="1"/>
          </p:cNvPicPr>
          <p:nvPr/>
        </p:nvPicPr>
        <p:blipFill rotWithShape="1">
          <a:blip r:embed="rId7"/>
          <a:srcRect l="37081" t="9883" r="20945" b="54984"/>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862624"/>
              </a:solidFill>
              <a:latin typeface="Garamond"/>
            </a:endParaRPr>
          </a:p>
          <a:p>
            <a:pPr algn="ctr"/>
            <a:r>
              <a:rPr lang="en-US" sz="1600" b="1" dirty="0">
                <a:solidFill>
                  <a:srgbClr val="862624"/>
                </a:solidFill>
                <a:latin typeface="Garamond"/>
              </a:rPr>
              <a:t>ABOUT IBRAHIMA</a:t>
            </a:r>
          </a:p>
          <a:p>
            <a:pPr algn="ctr"/>
            <a:r>
              <a:rPr lang="en-US" sz="1400" dirty="0" err="1">
                <a:solidFill>
                  <a:srgbClr val="862624"/>
                </a:solidFill>
                <a:latin typeface="Garamond"/>
              </a:rPr>
              <a:t>Ibrahima</a:t>
            </a:r>
            <a:r>
              <a:rPr lang="en-US" sz="1400" dirty="0">
                <a:solidFill>
                  <a:srgbClr val="862624"/>
                </a:solidFill>
                <a:latin typeface="Garamond"/>
              </a:rPr>
              <a:t> is the manager and founder of </a:t>
            </a:r>
            <a:r>
              <a:rPr lang="en-US" sz="1400" dirty="0" err="1">
                <a:solidFill>
                  <a:srgbClr val="862624"/>
                </a:solidFill>
                <a:latin typeface="Garamond"/>
              </a:rPr>
              <a:t>Volaille</a:t>
            </a:r>
            <a:r>
              <a:rPr lang="en-US" sz="1400" dirty="0">
                <a:solidFill>
                  <a:srgbClr val="862624"/>
                </a:solidFill>
                <a:latin typeface="Garamond"/>
              </a:rPr>
              <a:t> d'Or. His inspiration for this business came from a documentary in which he saw that the Ivory Coast continues to import poultry and he saw that there a gap in the market that needed to be fulfilled. He has a Master's degree in Business Management. He was the winner of the 2017 </a:t>
            </a:r>
            <a:r>
              <a:rPr lang="en-US" sz="1400" dirty="0" err="1">
                <a:solidFill>
                  <a:srgbClr val="862624"/>
                </a:solidFill>
                <a:latin typeface="Garamond"/>
              </a:rPr>
              <a:t>Anzisha</a:t>
            </a:r>
            <a:r>
              <a:rPr lang="en-US" sz="1400" dirty="0">
                <a:solidFill>
                  <a:srgbClr val="862624"/>
                </a:solidFill>
                <a:latin typeface="Garamond"/>
              </a:rPr>
              <a:t> Grand Prize and was recognized by Forbes as one of the 30 most promising young Africans in 2018. </a:t>
            </a:r>
          </a:p>
          <a:p>
            <a:pPr algn="ctr"/>
            <a:endParaRPr lang="en-US" sz="1400" dirty="0">
              <a:solidFill>
                <a:srgbClr val="862624"/>
              </a:solidFill>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err="1">
                <a:solidFill>
                  <a:schemeClr val="tx1"/>
                </a:solidFill>
                <a:latin typeface="Garamond"/>
              </a:rPr>
              <a:t>Volaille</a:t>
            </a:r>
            <a:r>
              <a:rPr lang="en-US" dirty="0">
                <a:solidFill>
                  <a:schemeClr val="tx1"/>
                </a:solidFill>
                <a:latin typeface="Garamond"/>
              </a:rPr>
              <a:t> d'Or</a:t>
            </a:r>
          </a:p>
          <a:p>
            <a:pPr lvl="1"/>
            <a:r>
              <a:rPr lang="en-US" b="1">
                <a:solidFill>
                  <a:schemeClr val="tx1"/>
                </a:solidFill>
                <a:latin typeface="Garamond"/>
              </a:rPr>
              <a:t>BUSINESS ACTIVITIES: </a:t>
            </a:r>
            <a:r>
              <a:rPr lang="en-US">
                <a:solidFill>
                  <a:schemeClr val="tx1"/>
                </a:solidFill>
                <a:latin typeface="Garamond"/>
              </a:rPr>
              <a:t>Volaille d'Or produces and </a:t>
            </a:r>
            <a:r>
              <a:rPr lang="en-US" dirty="0">
                <a:solidFill>
                  <a:schemeClr val="tx1"/>
                </a:solidFill>
                <a:latin typeface="Garamond"/>
              </a:rPr>
              <a:t>distributes fresh poultry products and agro-foods. Their products are slaughtered, cleaned, packaged and delivered all in the same day. The company specializes in the production and distribution of </a:t>
            </a:r>
            <a:r>
              <a:rPr lang="en-US" err="1">
                <a:solidFill>
                  <a:schemeClr val="tx1"/>
                </a:solidFill>
                <a:latin typeface="Garamond"/>
              </a:rPr>
              <a:t>agri</a:t>
            </a:r>
            <a:r>
              <a:rPr lang="en-US" dirty="0">
                <a:solidFill>
                  <a:schemeClr val="tx1"/>
                </a:solidFill>
                <a:latin typeface="Garamond"/>
              </a:rPr>
              <a:t>-food products and they aim to sell chicken at competitive prices directly to consumers.</a:t>
            </a:r>
          </a:p>
          <a:p>
            <a:pPr lvl="1"/>
            <a:r>
              <a:rPr lang="en-US" b="1" dirty="0">
                <a:solidFill>
                  <a:schemeClr val="tx1"/>
                </a:solidFill>
                <a:latin typeface="Garamond"/>
              </a:rPr>
              <a:t>BUSINESS LOCATION: </a:t>
            </a:r>
            <a:r>
              <a:rPr lang="en-US" dirty="0">
                <a:solidFill>
                  <a:schemeClr val="tx1"/>
                </a:solidFill>
                <a:latin typeface="Garamond"/>
              </a:rPr>
              <a:t>Ivory Coast</a:t>
            </a:r>
          </a:p>
          <a:p>
            <a:pPr lvl="1"/>
            <a:r>
              <a:rPr lang="en-US" b="1" dirty="0">
                <a:solidFill>
                  <a:schemeClr val="tx1"/>
                </a:solidFill>
                <a:latin typeface="Garamond"/>
              </a:rPr>
              <a:t>JOBS CREATED (Full &amp; Part Time): </a:t>
            </a:r>
            <a:r>
              <a:rPr lang="en-US" dirty="0">
                <a:solidFill>
                  <a:schemeClr val="tx1"/>
                </a:solidFill>
                <a:latin typeface="Garamond"/>
              </a:rPr>
              <a:t>30</a:t>
            </a:r>
          </a:p>
        </p:txBody>
      </p:sp>
      <p:sp>
        <p:nvSpPr>
          <p:cNvPr id="4" name="Rectangular Callout 3"/>
          <p:cNvSpPr/>
          <p:nvPr/>
        </p:nvSpPr>
        <p:spPr>
          <a:xfrm>
            <a:off x="1049720" y="4698125"/>
            <a:ext cx="3217478"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err="1">
                <a:solidFill>
                  <a:schemeClr val="tx1"/>
                </a:solidFill>
                <a:latin typeface="Garamond"/>
              </a:rPr>
              <a:t>Ibrahima</a:t>
            </a:r>
            <a:r>
              <a:rPr lang="en-ZA" sz="1400" dirty="0">
                <a:solidFill>
                  <a:schemeClr val="tx1"/>
                </a:solidFill>
                <a:latin typeface="Garamond"/>
              </a:rPr>
              <a:t> </a:t>
            </a:r>
            <a:r>
              <a:rPr lang="en-ZA" sz="1400" dirty="0" err="1">
                <a:solidFill>
                  <a:schemeClr val="tx1"/>
                </a:solidFill>
                <a:latin typeface="Garamond"/>
              </a:rPr>
              <a:t>Konate</a:t>
            </a:r>
            <a:r>
              <a:rPr lang="en-ZA" sz="1400" dirty="0">
                <a:solidFill>
                  <a:schemeClr val="tx1"/>
                </a:solidFill>
                <a:latin typeface="Garamond"/>
              </a:rPr>
              <a:t> </a:t>
            </a:r>
            <a:endParaRPr lang="en-ZA" sz="1400" dirty="0">
              <a:solidFill>
                <a:schemeClr val="tx1"/>
              </a:solidFill>
              <a:latin typeface="Garamond" panose="02020404030301010803" pitchFamily="18" charset="0"/>
            </a:endParaRPr>
          </a:p>
          <a:p>
            <a:r>
              <a:rPr lang="en-ZA" sz="1400" b="1" dirty="0">
                <a:solidFill>
                  <a:schemeClr val="tx1"/>
                </a:solidFill>
                <a:latin typeface="Garamond"/>
              </a:rPr>
              <a:t>Website: </a:t>
            </a:r>
            <a:r>
              <a:rPr lang="en-ZA" sz="1400" dirty="0">
                <a:solidFill>
                  <a:schemeClr val="tx1"/>
                </a:solidFill>
                <a:latin typeface="Garamond"/>
                <a:hlinkClick r:id="rId8"/>
              </a:rPr>
              <a:t>https://facebook.com/volailledor</a:t>
            </a:r>
            <a:endParaRPr lang="en-ZA" sz="1400" dirty="0">
              <a:solidFill>
                <a:schemeClr val="tx1"/>
              </a:solidFill>
              <a:latin typeface="Garamond"/>
            </a:endParaRPr>
          </a:p>
          <a:p>
            <a:r>
              <a:rPr lang="en-ZA" sz="1400" b="1" dirty="0">
                <a:solidFill>
                  <a:schemeClr val="tx1"/>
                </a:solidFill>
                <a:latin typeface="Garamond"/>
              </a:rPr>
              <a:t>Email: </a:t>
            </a:r>
            <a:r>
              <a:rPr lang="en-ZA" sz="1400" dirty="0">
                <a:solidFill>
                  <a:schemeClr val="tx1"/>
                </a:solidFill>
                <a:latin typeface="Garamond"/>
                <a:hlinkClick r:id="rId9"/>
              </a:rPr>
              <a:t>benazizkonate@gmail.com</a:t>
            </a:r>
            <a:r>
              <a:rPr lang="en-ZA" sz="1400" dirty="0">
                <a:solidFill>
                  <a:schemeClr val="tx1"/>
                </a:solidFill>
                <a:latin typeface="Garamond"/>
              </a:rPr>
              <a:t> </a:t>
            </a:r>
            <a:endParaRPr lang="en-ZA" sz="1400" dirty="0">
              <a:solidFill>
                <a:schemeClr val="tx1"/>
              </a:solidFill>
              <a:latin typeface="Garamond"/>
              <a:ea typeface="+mn-lt"/>
              <a:cs typeface="+mn-lt"/>
            </a:endParaRPr>
          </a:p>
          <a:p>
            <a:r>
              <a:rPr lang="en-ZA" sz="1400" b="1" dirty="0">
                <a:solidFill>
                  <a:schemeClr val="tx1"/>
                </a:solidFill>
                <a:latin typeface="Garamond"/>
              </a:rPr>
              <a:t>WhatsApp: </a:t>
            </a:r>
            <a:r>
              <a:rPr lang="en-ZA" sz="1400" dirty="0">
                <a:solidFill>
                  <a:schemeClr val="tx1"/>
                </a:solidFill>
                <a:latin typeface="Garamond"/>
              </a:rPr>
              <a:t>+225 773 191 00 </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764322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168ED601-D79A-4DCD-B02E-B0B48A84D1EC}"/>
              </a:ext>
            </a:extLst>
          </p:cNvPr>
          <p:cNvGraphicFramePr>
            <a:graphicFrameLocks noChangeAspect="1"/>
          </p:cNvGraphicFramePr>
          <p:nvPr>
            <p:custDataLst>
              <p:tags r:id="rId2"/>
            </p:custDataLst>
            <p:extLst>
              <p:ext uri="{D42A27DB-BD31-4B8C-83A1-F6EECF244321}">
                <p14:modId xmlns:p14="http://schemas.microsoft.com/office/powerpoint/2010/main" val="632998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439"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23C01A6B-11CD-49E1-81B0-BEBE407560E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0649037E-9EBC-43C7-AC0A-53C0C33EFC7A}"/>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rmAutofit/>
          </a:bodyPr>
          <a:lstStyle/>
          <a:p>
            <a:r>
              <a:rPr lang="en-ZA" sz="2800" b="1" dirty="0">
                <a:solidFill>
                  <a:srgbClr val="862624"/>
                </a:solidFill>
                <a:latin typeface="Garamond"/>
              </a:rPr>
              <a:t>Emmanuel Okon– </a:t>
            </a:r>
            <a:r>
              <a:rPr lang="en-ZA" sz="2800" b="1" dirty="0" err="1">
                <a:solidFill>
                  <a:srgbClr val="862624"/>
                </a:solidFill>
                <a:latin typeface="Garamond"/>
              </a:rPr>
              <a:t>Vmedkit</a:t>
            </a:r>
            <a:r>
              <a:rPr lang="en-ZA" sz="2800" b="1" dirty="0">
                <a:solidFill>
                  <a:srgbClr val="862624"/>
                </a:solidFill>
                <a:latin typeface="Garamond"/>
              </a:rPr>
              <a:t>: Mental health services</a:t>
            </a:r>
          </a:p>
        </p:txBody>
      </p:sp>
      <p:pic>
        <p:nvPicPr>
          <p:cNvPr id="2" name="Picture 1"/>
          <p:cNvPicPr preferRelativeResize="0">
            <a:picLocks/>
          </p:cNvPicPr>
          <p:nvPr/>
        </p:nvPicPr>
        <p:blipFill rotWithShape="1">
          <a:blip r:embed="rId8">
            <a:extLst>
              <a:ext uri="{28A0092B-C50C-407E-A947-70E740481C1C}">
                <a14:useLocalDpi xmlns:a14="http://schemas.microsoft.com/office/drawing/2010/main" val="0"/>
              </a:ext>
            </a:extLst>
          </a:blip>
          <a:srcRect l="1003" r="6482" b="14959"/>
          <a:stretch/>
        </p:blipFill>
        <p:spPr>
          <a:xfrm>
            <a:off x="1293711"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a:rPr>
              <a:t>ABOUT EMMANUEL</a:t>
            </a:r>
            <a:endParaRPr lang="en-US" sz="1600" b="1" dirty="0">
              <a:solidFill>
                <a:srgbClr val="862624"/>
              </a:solidFill>
              <a:latin typeface="Garamond" panose="02020404030301010803" pitchFamily="18" charset="0"/>
            </a:endParaRPr>
          </a:p>
          <a:p>
            <a:pPr algn="ctr"/>
            <a:r>
              <a:rPr lang="en-US" sz="1400" dirty="0">
                <a:solidFill>
                  <a:schemeClr val="accent1"/>
                </a:solidFill>
                <a:latin typeface="Garamond" panose="02020404030301010803" pitchFamily="18" charset="0"/>
              </a:rPr>
              <a:t>Emmanuel is one of a few African innovators who has founded a startup that has been supported by Facebook. He suffered from mental health issues growing up and after experiencing and seeing the pitfalls of mental healthcare in Nigeria, he founded </a:t>
            </a:r>
            <a:r>
              <a:rPr lang="en-US" sz="1400" dirty="0" err="1">
                <a:solidFill>
                  <a:schemeClr val="accent1"/>
                </a:solidFill>
                <a:latin typeface="Garamond" panose="02020404030301010803" pitchFamily="18" charset="0"/>
              </a:rPr>
              <a:t>Vmedkit</a:t>
            </a:r>
            <a:r>
              <a:rPr lang="en-US" sz="1400" dirty="0">
                <a:solidFill>
                  <a:schemeClr val="accent1"/>
                </a:solidFill>
                <a:latin typeface="Garamond" panose="02020404030301010803" pitchFamily="18" charset="0"/>
              </a:rPr>
              <a:t> to address psychiatric disorders in mentally ill persons. He intends to improve the stigma surrounding mental health matters in Nigeria – a calling that motivated him to decline an offer to study a Master’s degree in Canada and to rather pursue an entrepreneurial career.</a:t>
            </a:r>
          </a:p>
          <a:p>
            <a:pPr algn="ctr"/>
            <a:endParaRPr lang="en-US" sz="1400" dirty="0">
              <a:solidFill>
                <a:schemeClr val="accent1"/>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err="1">
                <a:solidFill>
                  <a:schemeClr val="tx1"/>
                </a:solidFill>
                <a:latin typeface="Garamond"/>
              </a:rPr>
              <a:t>Vmedkit</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a:t>
            </a:r>
            <a:r>
              <a:rPr lang="en-US" b="1" dirty="0">
                <a:solidFill>
                  <a:schemeClr val="accent1"/>
                </a:solidFill>
                <a:latin typeface="Garamond" panose="02020404030301010803" pitchFamily="18" charset="0"/>
              </a:rPr>
              <a:t> </a:t>
            </a:r>
            <a:r>
              <a:rPr lang="en-US" dirty="0" err="1">
                <a:solidFill>
                  <a:schemeClr val="tx1"/>
                </a:solidFill>
                <a:latin typeface="Garamond" panose="02020404030301010803" pitchFamily="18" charset="0"/>
              </a:rPr>
              <a:t>Vmedkit</a:t>
            </a:r>
            <a:r>
              <a:rPr lang="en-US" dirty="0">
                <a:solidFill>
                  <a:schemeClr val="tx1"/>
                </a:solidFill>
                <a:latin typeface="Garamond" panose="02020404030301010803" pitchFamily="18" charset="0"/>
              </a:rPr>
              <a:t> seeks to address mental health illness by using Virtual Reality technology. The rationale for this form of cognitive-behavioral psychotherapy is that exposing the patient to the target source or context of their condition combined with relaxation and mindfulness training.</a:t>
            </a:r>
          </a:p>
          <a:p>
            <a:pPr lvl="1"/>
            <a:r>
              <a:rPr lang="en-US" b="1" dirty="0">
                <a:solidFill>
                  <a:schemeClr val="tx1"/>
                </a:solidFill>
                <a:latin typeface="Garamond"/>
              </a:rPr>
              <a:t>BUSINESS LOCATION: </a:t>
            </a:r>
            <a:r>
              <a:rPr lang="en-US" dirty="0">
                <a:solidFill>
                  <a:schemeClr val="tx1"/>
                </a:solidFill>
                <a:latin typeface="Garamond" panose="02020404030301010803" pitchFamily="18" charset="0"/>
              </a:rPr>
              <a:t>Nigeri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4</a:t>
            </a:r>
            <a:endParaRPr lang="en-US" dirty="0">
              <a:solidFill>
                <a:schemeClr val="tx1"/>
              </a:solidFill>
              <a:latin typeface="Garamond"/>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Emmanuel </a:t>
            </a:r>
            <a:r>
              <a:rPr lang="en-ZA" sz="1400" dirty="0" err="1">
                <a:solidFill>
                  <a:schemeClr val="tx1"/>
                </a:solidFill>
                <a:latin typeface="Garamond"/>
              </a:rPr>
              <a:t>Okon</a:t>
            </a:r>
            <a:endParaRPr lang="en-ZA" sz="1400" dirty="0">
              <a:solidFill>
                <a:schemeClr val="tx1"/>
              </a:solidFill>
              <a:latin typeface="Garamond" panose="02020404030301010803" pitchFamily="18" charset="0"/>
            </a:endParaRPr>
          </a:p>
          <a:p>
            <a:r>
              <a:rPr lang="en-ZA" sz="1400" b="1" dirty="0">
                <a:solidFill>
                  <a:schemeClr val="tx1"/>
                </a:solidFill>
                <a:latin typeface="Garamond"/>
              </a:rPr>
              <a:t>Website: </a:t>
            </a:r>
            <a:r>
              <a:rPr lang="en-ZA" sz="1400" dirty="0">
                <a:solidFill>
                  <a:schemeClr val="tx1"/>
                </a:solidFill>
                <a:latin typeface="Garamond" panose="02020404030301010803" pitchFamily="18" charset="0"/>
                <a:hlinkClick r:id="rId9"/>
              </a:rPr>
              <a:t>http://www.vmedkit.com/</a:t>
            </a:r>
            <a:r>
              <a:rPr lang="en-ZA" sz="1400" dirty="0">
                <a:solidFill>
                  <a:schemeClr val="tx1"/>
                </a:solidFill>
                <a:latin typeface="Garamond" panose="02020404030301010803" pitchFamily="18" charset="0"/>
              </a:rPr>
              <a:t> </a:t>
            </a:r>
          </a:p>
          <a:p>
            <a:r>
              <a:rPr lang="en-ZA" sz="1400" b="1" dirty="0">
                <a:solidFill>
                  <a:schemeClr val="tx1"/>
                </a:solidFill>
                <a:latin typeface="Garamond"/>
              </a:rPr>
              <a:t>Email: </a:t>
            </a:r>
            <a:r>
              <a:rPr lang="en-ZA" sz="1400" dirty="0">
                <a:solidFill>
                  <a:schemeClr val="tx1"/>
                </a:solidFill>
                <a:latin typeface="Garamond"/>
                <a:hlinkClick r:id="rId10"/>
              </a:rPr>
              <a:t>okon.emma0@gmail.com</a:t>
            </a:r>
            <a:endParaRPr lang="en-ZA" sz="1400" dirty="0">
              <a:solidFill>
                <a:schemeClr val="tx1"/>
              </a:solidFill>
              <a:latin typeface="Garamond"/>
            </a:endParaRPr>
          </a:p>
          <a:p>
            <a:r>
              <a:rPr lang="en-ZA" sz="1400" b="1" dirty="0">
                <a:solidFill>
                  <a:schemeClr val="tx1"/>
                </a:solidFill>
                <a:latin typeface="Garamond"/>
              </a:rPr>
              <a:t>WhatsApp: </a:t>
            </a:r>
            <a:r>
              <a:rPr lang="en-ZA" sz="1400" dirty="0">
                <a:solidFill>
                  <a:schemeClr val="tx1"/>
                </a:solidFill>
                <a:latin typeface="Garamond"/>
              </a:rPr>
              <a:t>+234 810 777 0124</a:t>
            </a:r>
            <a:endParaRPr lang="en-GB" sz="1400" dirty="0">
              <a:solidFill>
                <a:schemeClr val="tx1"/>
              </a:solidFill>
              <a:latin typeface="Garamond"/>
            </a:endParaRPr>
          </a:p>
        </p:txBody>
      </p:sp>
    </p:spTree>
    <p:extLst>
      <p:ext uri="{BB962C8B-B14F-4D97-AF65-F5344CB8AC3E}">
        <p14:creationId xmlns:p14="http://schemas.microsoft.com/office/powerpoint/2010/main" val="417328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10527EC6-EA24-4579-BFB1-E187668307BA}"/>
              </a:ext>
            </a:extLst>
          </p:cNvPr>
          <p:cNvGraphicFramePr>
            <a:graphicFrameLocks noChangeAspect="1"/>
          </p:cNvGraphicFramePr>
          <p:nvPr>
            <p:custDataLst>
              <p:tags r:id="rId2"/>
            </p:custDataLst>
            <p:extLst>
              <p:ext uri="{D42A27DB-BD31-4B8C-83A1-F6EECF244321}">
                <p14:modId xmlns:p14="http://schemas.microsoft.com/office/powerpoint/2010/main" val="2400493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4582"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1C64E826-5694-440E-8339-66B5109A04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1742E9EE-492C-4909-8B6F-1DD77040F988}"/>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48795" y="481818"/>
            <a:ext cx="11384280" cy="609600"/>
          </a:xfrm>
        </p:spPr>
        <p:txBody>
          <a:bodyPr>
            <a:noAutofit/>
          </a:bodyPr>
          <a:lstStyle/>
          <a:p>
            <a:r>
              <a:rPr lang="en-ZA" sz="2500" b="1" dirty="0">
                <a:solidFill>
                  <a:srgbClr val="862624"/>
                </a:solidFill>
              </a:rPr>
              <a:t>Catherine </a:t>
            </a:r>
            <a:r>
              <a:rPr lang="en-ZA" sz="2500" b="1" dirty="0" err="1">
                <a:solidFill>
                  <a:srgbClr val="862624"/>
                </a:solidFill>
              </a:rPr>
              <a:t>Nalukwago</a:t>
            </a:r>
            <a:r>
              <a:rPr lang="en-ZA" sz="2500" b="1" dirty="0">
                <a:solidFill>
                  <a:srgbClr val="862624"/>
                </a:solidFill>
              </a:rPr>
              <a:t> – Vertical and Micro Gardening: Agricultural Inputs</a:t>
            </a:r>
            <a:endParaRPr lang="en-US" sz="2500" b="1" dirty="0">
              <a:solidFill>
                <a:srgbClr val="862624"/>
              </a:solidFill>
            </a:endParaRPr>
          </a:p>
        </p:txBody>
      </p:sp>
      <p:pic>
        <p:nvPicPr>
          <p:cNvPr id="2" name="Picture 1"/>
          <p:cNvPicPr>
            <a:picLocks noChangeAspect="1"/>
          </p:cNvPicPr>
          <p:nvPr/>
        </p:nvPicPr>
        <p:blipFill rotWithShape="1">
          <a:blip r:embed="rId8" cstate="print">
            <a:extLst>
              <a:ext uri="{28A0092B-C50C-407E-A947-70E740481C1C}">
                <a14:useLocalDpi xmlns:a14="http://schemas.microsoft.com/office/drawing/2010/main" val="0"/>
              </a:ext>
            </a:extLst>
          </a:blip>
          <a:srcRect l="6655" t="4390" r="29905" b="23854"/>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CATHERINE</a:t>
            </a:r>
          </a:p>
          <a:p>
            <a:pPr algn="ctr"/>
            <a:r>
              <a:rPr lang="en-ZA" sz="1400" dirty="0">
                <a:solidFill>
                  <a:schemeClr val="accent1"/>
                </a:solidFill>
                <a:latin typeface="Garamond" panose="02020404030301010803" pitchFamily="18" charset="0"/>
              </a:rPr>
              <a:t>Catherine </a:t>
            </a:r>
            <a:r>
              <a:rPr lang="en-US" sz="1400" dirty="0">
                <a:solidFill>
                  <a:schemeClr val="accent1"/>
                </a:solidFill>
                <a:latin typeface="Garamond" panose="02020404030301010803" pitchFamily="18" charset="0"/>
              </a:rPr>
              <a:t>is the co-founder of Vertical and Micro Gardening.  Catherine fell into entrepreneurship through her interest in agriculture in Uganda. While at university, she and two other friends wanted to help impoverished urban households grow their food through sack gardening.  </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a:t>
            </a:r>
            <a:r>
              <a:rPr lang="en-US" dirty="0">
                <a:solidFill>
                  <a:schemeClr val="tx1"/>
                </a:solidFill>
                <a:latin typeface="Garamond"/>
              </a:rPr>
              <a:t> </a:t>
            </a:r>
            <a:r>
              <a:rPr lang="en-ZA" dirty="0">
                <a:solidFill>
                  <a:schemeClr val="tx1"/>
                </a:solidFill>
                <a:latin typeface="Garamond"/>
              </a:rPr>
              <a:t>Vertical and Micro Gardening (VMG)</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VMG manufactures and supplies vertical farms to aid low income and urban households so that these households can grow their own food using the smallest available land.</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a:rPr>
              <a:t>JOBS CREATED (Full &amp; Part Time):</a:t>
            </a:r>
            <a:r>
              <a:rPr lang="en-US" dirty="0">
                <a:solidFill>
                  <a:schemeClr val="tx1"/>
                </a:solidFill>
                <a:latin typeface="Garamond"/>
              </a:rPr>
              <a:t> 7</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Catherine </a:t>
            </a:r>
            <a:r>
              <a:rPr lang="en-ZA" sz="1400" dirty="0" err="1">
                <a:solidFill>
                  <a:schemeClr val="tx1"/>
                </a:solidFill>
                <a:latin typeface="Garamond" panose="02020404030301010803" pitchFamily="18" charset="0"/>
              </a:rPr>
              <a:t>Nalukwago</a:t>
            </a:r>
            <a:r>
              <a:rPr lang="en-ZA" sz="1400" dirty="0">
                <a:solidFill>
                  <a:schemeClr val="tx1"/>
                </a:solidFill>
                <a:latin typeface="Garamond" panose="02020404030301010803" pitchFamily="18" charset="0"/>
              </a:rPr>
              <a:t> </a:t>
            </a: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9"/>
              </a:rPr>
              <a:t>https://nguvu.africa/insights/profile?p=1059</a:t>
            </a:r>
            <a:r>
              <a:rPr lang="en-ZA" sz="1400" dirty="0">
                <a:solidFill>
                  <a:schemeClr val="tx1"/>
                </a:solidFill>
                <a:latin typeface="Garamond" panose="02020404030301010803" pitchFamily="18" charset="0"/>
              </a:rPr>
              <a:t> </a:t>
            </a:r>
            <a:endParaRPr lang="en-ZA" sz="1400" b="1"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10"/>
              </a:rPr>
              <a:t>nalukwagocatherine0@gmail.com</a:t>
            </a:r>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56 702 233 236</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195420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21334CED-501C-4E66-BEA1-2F52189260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4535" name="think-cell Slide" r:id="rId5" imgW="421" imgH="423" progId="TCLayout.ActiveDocument.1">
                  <p:embed/>
                </p:oleObj>
              </mc:Choice>
              <mc:Fallback>
                <p:oleObj name="think-cell Slide" r:id="rId5" imgW="421" imgH="423" progId="TCLayout.ActiveDocument.1">
                  <p:embed/>
                  <p:pic>
                    <p:nvPicPr>
                      <p:cNvPr id="11" name="Object 10" hidden="1">
                        <a:extLst>
                          <a:ext uri="{FF2B5EF4-FFF2-40B4-BE49-F238E27FC236}">
                            <a16:creationId xmlns:a16="http://schemas.microsoft.com/office/drawing/2014/main" xmlns="" id="{21334CED-501C-4E66-BEA1-2F52189260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57DD15C5-5383-4F0E-A31A-B0CB65F31DA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FAC797C9-41E2-4BA9-BA8A-9CB21AAE6C76}"/>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rmAutofit/>
          </a:bodyPr>
          <a:lstStyle/>
          <a:p>
            <a:r>
              <a:rPr lang="en-ZA" sz="2800" b="1" dirty="0">
                <a:solidFill>
                  <a:srgbClr val="862624"/>
                </a:solidFill>
              </a:rPr>
              <a:t>Yaw </a:t>
            </a:r>
            <a:r>
              <a:rPr lang="en-ZA" sz="2800" b="1" dirty="0" err="1">
                <a:solidFill>
                  <a:srgbClr val="862624"/>
                </a:solidFill>
              </a:rPr>
              <a:t>Duffour</a:t>
            </a:r>
            <a:r>
              <a:rPr lang="en-ZA" sz="2800" b="1" dirty="0">
                <a:solidFill>
                  <a:srgbClr val="862624"/>
                </a:solidFill>
              </a:rPr>
              <a:t> – </a:t>
            </a:r>
            <a:r>
              <a:rPr lang="en-ZA" sz="2800" b="1" dirty="0" err="1">
                <a:solidFill>
                  <a:srgbClr val="862624"/>
                </a:solidFill>
              </a:rPr>
              <a:t>Agripool</a:t>
            </a:r>
            <a:r>
              <a:rPr lang="en-ZA" sz="2800" b="1" dirty="0">
                <a:solidFill>
                  <a:srgbClr val="862624"/>
                </a:solidFill>
              </a:rPr>
              <a:t>: Social crowd-farming platform</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r="7022" b="15181"/>
          <a:stretch/>
        </p:blipFill>
        <p:spPr>
          <a:xfrm>
            <a:off x="1293712" y="186067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YAW</a:t>
            </a:r>
          </a:p>
          <a:p>
            <a:pPr algn="ctr"/>
            <a:r>
              <a:rPr lang="en-ZA" sz="1400" dirty="0">
                <a:solidFill>
                  <a:srgbClr val="862624"/>
                </a:solidFill>
                <a:latin typeface="Garamond" panose="02020404030301010803" pitchFamily="18" charset="0"/>
              </a:rPr>
              <a:t> Yaw is a serial entrepreneur who founded his first business at 16 – the business provided soft loans, financial literacy training, and a savings plan to his peers. He is an Engineering graduate from the Ghana Telecom University. Yaw also has a vast amount of experience working in the financial services, agricultural, and telecommunications industry.  </a:t>
            </a:r>
          </a:p>
          <a:p>
            <a:pPr algn="ctr"/>
            <a:endParaRPr lang="en-US" sz="14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Agripool</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err="1">
                <a:solidFill>
                  <a:schemeClr val="tx1"/>
                </a:solidFill>
                <a:latin typeface="Garamond"/>
              </a:rPr>
              <a:t>AgripoolApp</a:t>
            </a:r>
            <a:r>
              <a:rPr lang="en-US" dirty="0">
                <a:solidFill>
                  <a:schemeClr val="tx1"/>
                </a:solidFill>
                <a:latin typeface="Garamond"/>
              </a:rPr>
              <a:t> is a crowd-farming, </a:t>
            </a:r>
            <a:r>
              <a:rPr lang="en-US" dirty="0" err="1">
                <a:solidFill>
                  <a:schemeClr val="tx1"/>
                </a:solidFill>
                <a:latin typeface="Garamond"/>
              </a:rPr>
              <a:t>agritech</a:t>
            </a:r>
            <a:r>
              <a:rPr lang="en-US" dirty="0">
                <a:solidFill>
                  <a:schemeClr val="tx1"/>
                </a:solidFill>
                <a:latin typeface="Garamond"/>
              </a:rPr>
              <a:t> platform that allows individuals to become farm owners and enjoy regular returns on their investment after the sales of harvested farm produce.</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Ghan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30</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Yaw </a:t>
            </a:r>
            <a:r>
              <a:rPr lang="en-ZA" sz="1400" dirty="0" err="1">
                <a:solidFill>
                  <a:schemeClr val="tx1"/>
                </a:solidFill>
                <a:latin typeface="Garamond" panose="02020404030301010803" pitchFamily="18" charset="0"/>
              </a:rPr>
              <a:t>Duffour</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agripoolapp.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yduffour@agripoolapp.com</a:t>
            </a:r>
            <a:endParaRPr lang="en-ZA" sz="1400" dirty="0">
              <a:solidFill>
                <a:schemeClr val="tx1"/>
              </a:solidFill>
              <a:latin typeface="Garamond" panose="02020404030301010803" pitchFamily="18" charset="0"/>
            </a:endParaRPr>
          </a:p>
          <a:p>
            <a:r>
              <a:rPr lang="en-ZA" sz="1400" dirty="0">
                <a:solidFill>
                  <a:schemeClr val="tx1"/>
                </a:solidFill>
                <a:latin typeface="Garamond" panose="02020404030301010803" pitchFamily="18" charset="0"/>
              </a:rPr>
              <a:t> </a:t>
            </a:r>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3 26 342 0552</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1561734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A83246FD-E99B-46E1-928A-262C54FDB3C3}"/>
              </a:ext>
            </a:extLst>
          </p:cNvPr>
          <p:cNvGraphicFramePr>
            <a:graphicFrameLocks noChangeAspect="1"/>
          </p:cNvGraphicFramePr>
          <p:nvPr>
            <p:custDataLst>
              <p:tags r:id="rId2"/>
            </p:custDataLst>
            <p:extLst>
              <p:ext uri="{D42A27DB-BD31-4B8C-83A1-F6EECF244321}">
                <p14:modId xmlns:p14="http://schemas.microsoft.com/office/powerpoint/2010/main" val="593709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9940"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2E7D8492-8938-4F18-B554-846085588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50F6D8D7-6659-4D86-A598-B74542A9D5F6}"/>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oAutofit/>
          </a:bodyPr>
          <a:lstStyle/>
          <a:p>
            <a:r>
              <a:rPr lang="en-ZA" sz="2800" b="1" dirty="0">
                <a:solidFill>
                  <a:srgbClr val="862624"/>
                </a:solidFill>
              </a:rPr>
              <a:t>Elizabeth Skosana– We Like Cake: </a:t>
            </a:r>
            <a:r>
              <a:rPr lang="en-ZA" sz="2800" b="1" dirty="0" err="1">
                <a:solidFill>
                  <a:srgbClr val="862624"/>
                </a:solidFill>
              </a:rPr>
              <a:t>Cakery</a:t>
            </a:r>
            <a:endParaRPr lang="en-US" sz="2800" b="1" dirty="0">
              <a:solidFill>
                <a:srgbClr val="862624"/>
              </a:solidFill>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13651" t="5054" r="3260" b="15061"/>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ELIZABETH</a:t>
            </a:r>
          </a:p>
          <a:p>
            <a:pPr algn="ctr"/>
            <a:r>
              <a:rPr lang="en-US" sz="1400" dirty="0">
                <a:solidFill>
                  <a:schemeClr val="accent1"/>
                </a:solidFill>
                <a:latin typeface="Garamond" panose="02020404030301010803" pitchFamily="18" charset="0"/>
              </a:rPr>
              <a:t>Elizabeth is a Master of Social Work graduate. She is the Founder and CEO of We Like Cake, which was established in 2017. Liz aspires to leave the world better than she found it, and aims to inspire, create and share the resource and knowledge that she has acquired on her journey through life</a:t>
            </a:r>
            <a:r>
              <a:rPr lang="en-US" sz="1400" dirty="0">
                <a:solidFill>
                  <a:srgbClr val="862624"/>
                </a:solidFill>
                <a:latin typeface="Garamond" panose="02020404030301010803" pitchFamily="18" charset="0"/>
              </a:rPr>
              <a:t>.</a:t>
            </a:r>
            <a:endParaRPr lang="en-US" sz="1400" dirty="0">
              <a:solidFill>
                <a:schemeClr val="accent1"/>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We Like Cake</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We Like Cake is a cakery based in Johannesburg that creates unique baked goods, serving the wider Johannesburg region. They operate a shop in </a:t>
            </a:r>
            <a:r>
              <a:rPr lang="en-US" dirty="0" err="1">
                <a:solidFill>
                  <a:schemeClr val="tx1"/>
                </a:solidFill>
                <a:latin typeface="Garamond" panose="02020404030301010803" pitchFamily="18" charset="0"/>
              </a:rPr>
              <a:t>Booysen</a:t>
            </a:r>
            <a:r>
              <a:rPr lang="en-US" dirty="0">
                <a:solidFill>
                  <a:schemeClr val="tx1"/>
                </a:solidFill>
                <a:latin typeface="Garamond" panose="02020404030301010803" pitchFamily="18" charset="0"/>
              </a:rPr>
              <a:t> and have an online platform where one can place orders for delivery or pick up.</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South Africa</a:t>
            </a:r>
          </a:p>
          <a:p>
            <a:pPr lvl="1"/>
            <a:r>
              <a:rPr lang="en-US" b="1" dirty="0">
                <a:solidFill>
                  <a:schemeClr val="tx1"/>
                </a:solidFill>
                <a:latin typeface="Garamond"/>
              </a:rPr>
              <a:t>JOBS CREATED (Full &amp; Part Time): </a:t>
            </a:r>
            <a:r>
              <a:rPr lang="en-US" dirty="0">
                <a:solidFill>
                  <a:schemeClr val="tx1"/>
                </a:solidFill>
                <a:latin typeface="Garamond"/>
              </a:rPr>
              <a:t>3</a:t>
            </a: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Elizabeth </a:t>
            </a:r>
            <a:r>
              <a:rPr lang="en-ZA" sz="1400" dirty="0" err="1">
                <a:solidFill>
                  <a:schemeClr val="tx1"/>
                </a:solidFill>
                <a:latin typeface="Garamond" panose="02020404030301010803" pitchFamily="18" charset="0"/>
              </a:rPr>
              <a:t>Skosana</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www.welikecake.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liz@welikecake.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7 74 672 3653</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0568160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3306660-5266-406C-B8FF-FA040BDE58ED}"/>
              </a:ext>
            </a:extLst>
          </p:cNvPr>
          <p:cNvGraphicFramePr>
            <a:graphicFrameLocks noChangeAspect="1"/>
          </p:cNvGraphicFramePr>
          <p:nvPr>
            <p:custDataLst>
              <p:tags r:id="rId2"/>
            </p:custDataLst>
            <p:extLst>
              <p:ext uri="{D42A27DB-BD31-4B8C-83A1-F6EECF244321}">
                <p14:modId xmlns:p14="http://schemas.microsoft.com/office/powerpoint/2010/main" val="91733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4821"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D3B70181-954F-48A2-ADC8-BC193B17D7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BCE19B2B-3512-42A1-A807-40A50C565CCF}"/>
              </a:ext>
            </a:extLst>
          </p:cNvPr>
          <p:cNvSpPr/>
          <p:nvPr/>
        </p:nvSpPr>
        <p:spPr>
          <a:xfrm>
            <a:off x="105551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66828"/>
            <a:ext cx="10213460" cy="609600"/>
          </a:xfrm>
        </p:spPr>
        <p:txBody>
          <a:bodyPr anchor="t">
            <a:noAutofit/>
          </a:bodyPr>
          <a:lstStyle/>
          <a:p>
            <a:r>
              <a:rPr lang="en-ZA" sz="2400" b="1" dirty="0" err="1">
                <a:solidFill>
                  <a:srgbClr val="862624"/>
                </a:solidFill>
                <a:latin typeface="Garamond"/>
              </a:rPr>
              <a:t>Chineyenwa</a:t>
            </a:r>
            <a:r>
              <a:rPr lang="en-ZA" sz="2400" b="1" dirty="0">
                <a:solidFill>
                  <a:srgbClr val="862624"/>
                </a:solidFill>
                <a:latin typeface="Garamond"/>
              </a:rPr>
              <a:t> </a:t>
            </a:r>
            <a:r>
              <a:rPr lang="en-ZA" sz="2400" b="1" dirty="0" err="1">
                <a:solidFill>
                  <a:srgbClr val="862624"/>
                </a:solidFill>
                <a:latin typeface="Garamond"/>
              </a:rPr>
              <a:t>Onu</a:t>
            </a:r>
            <a:r>
              <a:rPr lang="en-ZA" sz="2400" b="1" dirty="0">
                <a:solidFill>
                  <a:srgbClr val="862624"/>
                </a:solidFill>
                <a:latin typeface="Garamond"/>
              </a:rPr>
              <a:t> – Waste or Create Hub: </a:t>
            </a:r>
            <a:r>
              <a:rPr lang="en-US" sz="2400" b="1" dirty="0">
                <a:solidFill>
                  <a:srgbClr val="862624"/>
                </a:solidFill>
                <a:latin typeface="Garamond"/>
              </a:rPr>
              <a:t>Space for sustainable innovations</a:t>
            </a:r>
          </a:p>
        </p:txBody>
      </p:sp>
      <p:pic>
        <p:nvPicPr>
          <p:cNvPr id="2" name="Picture 1"/>
          <p:cNvPicPr preferRelativeResize="0">
            <a:picLocks/>
          </p:cNvPicPr>
          <p:nvPr/>
        </p:nvPicPr>
        <p:blipFill rotWithShape="1">
          <a:blip r:embed="rId7" cstate="print">
            <a:extLst>
              <a:ext uri="{28A0092B-C50C-407E-A947-70E740481C1C}">
                <a14:useLocalDpi xmlns:a14="http://schemas.microsoft.com/office/drawing/2010/main" val="0"/>
              </a:ext>
            </a:extLst>
          </a:blip>
          <a:srcRect l="3762" t="4503" r="3762" b="15148"/>
          <a:stretch/>
        </p:blipFill>
        <p:spPr>
          <a:xfrm>
            <a:off x="1293713"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CHINEYENWA</a:t>
            </a:r>
          </a:p>
          <a:p>
            <a:pPr algn="ctr"/>
            <a:r>
              <a:rPr lang="en-US" sz="1400" dirty="0" err="1">
                <a:solidFill>
                  <a:srgbClr val="862624"/>
                </a:solidFill>
                <a:latin typeface="Garamond"/>
              </a:rPr>
              <a:t>Chineyenwa</a:t>
            </a:r>
            <a:r>
              <a:rPr lang="en-US" sz="1400" dirty="0">
                <a:solidFill>
                  <a:srgbClr val="862624"/>
                </a:solidFill>
                <a:latin typeface="Garamond"/>
              </a:rPr>
              <a:t> believes that the missing ingredient in Africa is the ability of its people to become problem solvers and innovators. Over a seven-year period, she has founded and led three organizations that continuously develop a new cohort of people who can find new solutions and synergies for Africa’s development. These three organizations are Waste or Create Hub, Startup Africa Network, and The Enabler Consultancy.</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Waste or Create Innovation Hub </a:t>
            </a:r>
          </a:p>
          <a:p>
            <a:pPr lvl="1"/>
            <a:r>
              <a:rPr lang="en-US" b="1" dirty="0">
                <a:solidFill>
                  <a:schemeClr val="tx1"/>
                </a:solidFill>
                <a:latin typeface="Garamond" panose="02020404030301010803" pitchFamily="18" charset="0"/>
              </a:rPr>
              <a:t>BUSINESS ACTIVITIES: </a:t>
            </a:r>
            <a:r>
              <a:rPr lang="en-US" dirty="0">
                <a:solidFill>
                  <a:schemeClr val="tx1"/>
                </a:solidFill>
                <a:latin typeface="Garamond" panose="02020404030301010803" pitchFamily="18" charset="0"/>
              </a:rPr>
              <a:t>Waste Or Create Innovation Hub is an inclusive, technical, and practical space for sustainable innovation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Ghan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5</a:t>
            </a:r>
          </a:p>
        </p:txBody>
      </p:sp>
      <p:sp>
        <p:nvSpPr>
          <p:cNvPr id="4" name="Rectangular Callout 3"/>
          <p:cNvSpPr/>
          <p:nvPr/>
        </p:nvSpPr>
        <p:spPr>
          <a:xfrm>
            <a:off x="105551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Chineyenwa</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Onu</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instagram.com/wasteorcreate</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chineyenwa.onu@gmail.com</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33 20 809 8238</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351090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FE74BBC-717C-4453-9167-807DA01E4A1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89" name="think-cell Slide" r:id="rId6" imgW="421" imgH="423" progId="TCLayout.ActiveDocument.1">
                  <p:embed/>
                </p:oleObj>
              </mc:Choice>
              <mc:Fallback>
                <p:oleObj name="think-cell Slide" r:id="rId6" imgW="421" imgH="423" progId="TCLayout.ActiveDocument.1">
                  <p:embed/>
                  <p:pic>
                    <p:nvPicPr>
                      <p:cNvPr id="3" name="Object 2" hidden="1">
                        <a:extLst>
                          <a:ext uri="{FF2B5EF4-FFF2-40B4-BE49-F238E27FC236}">
                            <a16:creationId xmlns:a16="http://schemas.microsoft.com/office/drawing/2014/main" xmlns="" id="{0FE74BBC-717C-4453-9167-807DA01E4A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C66AEB0E-C7E5-4FF4-96F8-120BC80BD26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3" name="Rectangle 12">
            <a:extLst>
              <a:ext uri="{FF2B5EF4-FFF2-40B4-BE49-F238E27FC236}">
                <a16:creationId xmlns:a16="http://schemas.microsoft.com/office/drawing/2014/main" xmlns="" id="{D0D43648-A56D-41BE-93F8-823BCBC11753}"/>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8" name="Title 4"/>
          <p:cNvSpPr>
            <a:spLocks noGrp="1"/>
          </p:cNvSpPr>
          <p:nvPr>
            <p:ph type="title"/>
          </p:nvPr>
        </p:nvSpPr>
        <p:spPr>
          <a:xfrm>
            <a:off x="1007442" y="481818"/>
            <a:ext cx="10536857" cy="609600"/>
          </a:xfrm>
        </p:spPr>
        <p:txBody>
          <a:bodyPr anchor="t">
            <a:noAutofit/>
          </a:bodyPr>
          <a:lstStyle/>
          <a:p>
            <a:r>
              <a:rPr lang="en-ZA" sz="2800" b="1" dirty="0" err="1">
                <a:latin typeface="Garamond"/>
              </a:rPr>
              <a:t>Thowiba</a:t>
            </a:r>
            <a:r>
              <a:rPr lang="en-ZA" sz="2800" b="1" dirty="0">
                <a:latin typeface="Garamond"/>
              </a:rPr>
              <a:t> Alhaj </a:t>
            </a:r>
            <a:r>
              <a:rPr lang="en-ZA" sz="2800" b="1" dirty="0">
                <a:solidFill>
                  <a:srgbClr val="862624"/>
                </a:solidFill>
                <a:latin typeface="Garamond"/>
              </a:rPr>
              <a:t>– Vintage</a:t>
            </a:r>
            <a:r>
              <a:rPr lang="en-ZA" sz="2800" b="1" dirty="0">
                <a:latin typeface="Garamond"/>
              </a:rPr>
              <a:t>: Clothing brand</a:t>
            </a:r>
          </a:p>
        </p:txBody>
      </p:sp>
      <p:pic>
        <p:nvPicPr>
          <p:cNvPr id="9" name="Picture 8"/>
          <p:cNvPicPr preferRelativeResize="0">
            <a:picLocks/>
          </p:cNvPicPr>
          <p:nvPr/>
        </p:nvPicPr>
        <p:blipFill rotWithShape="1">
          <a:blip r:embed="rId8">
            <a:extLst>
              <a:ext uri="{28A0092B-C50C-407E-A947-70E740481C1C}">
                <a14:useLocalDpi xmlns:a14="http://schemas.microsoft.com/office/drawing/2010/main" val="0"/>
              </a:ext>
            </a:extLst>
          </a:blip>
          <a:srcRect l="1586" t="6244" r="5960" b="5339"/>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10" name="Rectangle 9"/>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THOWIBA</a:t>
            </a:r>
          </a:p>
          <a:p>
            <a:pPr algn="ctr"/>
            <a:r>
              <a:rPr lang="en-US" sz="1400" dirty="0" err="1">
                <a:solidFill>
                  <a:srgbClr val="862624"/>
                </a:solidFill>
                <a:latin typeface="Garamond"/>
              </a:rPr>
              <a:t>Thowiba</a:t>
            </a:r>
            <a:r>
              <a:rPr lang="en-US" sz="1400" dirty="0">
                <a:solidFill>
                  <a:srgbClr val="862624"/>
                </a:solidFill>
                <a:latin typeface="Garamond"/>
              </a:rPr>
              <a:t> defines herself as an entrepreneur, environmentalist, and fashion lover. She is driven and passionate about youth and women empowerment. She previously founded Work Jump-Up Sudan, an organization that empowers university students by linking them to much-needed job opportunities. She is currently studying towards a Bachelor's degree in Medicine.</a:t>
            </a:r>
          </a:p>
        </p:txBody>
      </p:sp>
      <p:sp>
        <p:nvSpPr>
          <p:cNvPr id="11" name="Rectangle 10"/>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a:t>
            </a:r>
            <a:r>
              <a:rPr lang="en-US" dirty="0">
                <a:solidFill>
                  <a:schemeClr val="tx1"/>
                </a:solidFill>
                <a:latin typeface="Garamond"/>
              </a:rPr>
              <a:t> Vintage</a:t>
            </a:r>
            <a:endParaRPr lang="en-ZA" dirty="0">
              <a:solidFill>
                <a:schemeClr val="tx1"/>
              </a:solidFill>
              <a:latin typeface="Garamond" panose="02020404030301010803" pitchFamily="18" charset="0"/>
            </a:endParaRPr>
          </a:p>
          <a:p>
            <a:pPr lvl="1"/>
            <a:r>
              <a:rPr lang="en-US" b="1" dirty="0">
                <a:solidFill>
                  <a:schemeClr val="tx1"/>
                </a:solidFill>
                <a:latin typeface="Garamond"/>
              </a:rPr>
              <a:t>BUSINESS ACTIVITIES: </a:t>
            </a:r>
            <a:r>
              <a:rPr lang="en-US" dirty="0">
                <a:solidFill>
                  <a:schemeClr val="tx1"/>
                </a:solidFill>
                <a:latin typeface="Garamond"/>
              </a:rPr>
              <a:t>Vintage is a women clothing brand that resells unique vintage clothing items, which come from local markets, to </a:t>
            </a:r>
            <a:r>
              <a:rPr lang="en-US" dirty="0">
                <a:solidFill>
                  <a:schemeClr val="tx1"/>
                </a:solidFill>
                <a:latin typeface="Garamond"/>
                <a:ea typeface="+mn-lt"/>
                <a:cs typeface="+mn-lt"/>
              </a:rPr>
              <a:t>eco-conscious</a:t>
            </a:r>
            <a:r>
              <a:rPr lang="en-US" dirty="0">
                <a:solidFill>
                  <a:schemeClr val="tx1"/>
                </a:solidFill>
                <a:latin typeface="Garamond"/>
              </a:rPr>
              <a:t> customers who want to save money. The proceeds from sales go towards supporting women who work in the local vintage clothing market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Sudan</a:t>
            </a:r>
          </a:p>
          <a:p>
            <a:pPr lvl="1"/>
            <a:r>
              <a:rPr lang="en-US" b="1" dirty="0">
                <a:solidFill>
                  <a:schemeClr val="tx1"/>
                </a:solidFill>
                <a:latin typeface="Garamond" panose="02020404030301010803" pitchFamily="18" charset="0"/>
              </a:rPr>
              <a:t>JOBS CREATED (Full &amp; Part Time):</a:t>
            </a:r>
            <a:r>
              <a:rPr lang="en-US" dirty="0">
                <a:solidFill>
                  <a:schemeClr val="tx1"/>
                </a:solidFill>
                <a:latin typeface="Garamond" panose="02020404030301010803" pitchFamily="18" charset="0"/>
              </a:rPr>
              <a:t> 5</a:t>
            </a:r>
          </a:p>
        </p:txBody>
      </p:sp>
      <p:sp>
        <p:nvSpPr>
          <p:cNvPr id="12" name="Rectangular Callout 11"/>
          <p:cNvSpPr/>
          <p:nvPr/>
        </p:nvSpPr>
        <p:spPr>
          <a:xfrm>
            <a:off x="1049480" y="4698125"/>
            <a:ext cx="3217718"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Thowiba Alhaj</a:t>
            </a:r>
          </a:p>
          <a:p>
            <a:r>
              <a:rPr lang="en-US" sz="1400" b="1" dirty="0">
                <a:solidFill>
                  <a:schemeClr val="tx1"/>
                </a:solidFill>
                <a:latin typeface="Garamond"/>
              </a:rPr>
              <a:t>Website: </a:t>
            </a:r>
            <a:r>
              <a:rPr lang="en-US" sz="1400" dirty="0">
                <a:solidFill>
                  <a:schemeClr val="tx1"/>
                </a:solidFill>
                <a:latin typeface="Garamond"/>
                <a:ea typeface="+mn-lt"/>
                <a:cs typeface="+mn-lt"/>
                <a:hlinkClick r:id="rId9"/>
              </a:rPr>
              <a:t>https://linkedin.com/in/thowiba-alhaj-b603651a3/</a:t>
            </a:r>
            <a:r>
              <a:rPr lang="en-US" sz="1400" dirty="0">
                <a:solidFill>
                  <a:schemeClr val="tx1"/>
                </a:solidFill>
                <a:latin typeface="Garamond"/>
                <a:ea typeface="+mn-lt"/>
                <a:cs typeface="+mn-lt"/>
              </a:rPr>
              <a:t> </a:t>
            </a:r>
            <a:endParaRPr lang="en-ZA" sz="1400" dirty="0">
              <a:solidFill>
                <a:schemeClr val="tx1"/>
              </a:solidFill>
              <a:latin typeface="Garamond"/>
            </a:endParaRPr>
          </a:p>
          <a:p>
            <a:r>
              <a:rPr lang="en-ZA" sz="1400" b="1" dirty="0">
                <a:solidFill>
                  <a:schemeClr val="tx1"/>
                </a:solidFill>
                <a:latin typeface="Garamond"/>
              </a:rPr>
              <a:t>Email: </a:t>
            </a:r>
            <a:r>
              <a:rPr lang="en-ZA" sz="1400" u="sng" dirty="0">
                <a:solidFill>
                  <a:schemeClr val="tx1"/>
                </a:solidFill>
                <a:latin typeface="Garamond"/>
                <a:hlinkClick r:id="rId10"/>
              </a:rPr>
              <a:t>thowibaalhag@gmail.com</a:t>
            </a:r>
            <a:r>
              <a:rPr lang="en-ZA" sz="1400" dirty="0">
                <a:solidFill>
                  <a:schemeClr val="tx1"/>
                </a:solidFill>
                <a:latin typeface="Garamond"/>
              </a:rPr>
              <a:t>      </a:t>
            </a:r>
            <a:endParaRPr lang="en-GB" sz="1400" dirty="0">
              <a:solidFill>
                <a:schemeClr val="tx1"/>
              </a:solidFill>
              <a:latin typeface="Garamond"/>
            </a:endParaRPr>
          </a:p>
          <a:p>
            <a:r>
              <a:rPr lang="en-ZA" sz="1400" b="1" dirty="0">
                <a:solidFill>
                  <a:schemeClr val="tx1"/>
                </a:solidFill>
                <a:latin typeface="Garamond"/>
              </a:rPr>
              <a:t>WhatsApp: </a:t>
            </a:r>
            <a:r>
              <a:rPr lang="en-ZA" sz="1400" dirty="0">
                <a:solidFill>
                  <a:schemeClr val="tx1"/>
                </a:solidFill>
                <a:latin typeface="Garamond"/>
              </a:rPr>
              <a:t>+249 91 144 4116</a:t>
            </a:r>
            <a:endParaRPr lang="en-GB" sz="1400" dirty="0">
              <a:solidFill>
                <a:schemeClr val="tx1"/>
              </a:solidFill>
              <a:latin typeface="Garamond"/>
            </a:endParaRPr>
          </a:p>
        </p:txBody>
      </p:sp>
    </p:spTree>
    <p:extLst>
      <p:ext uri="{BB962C8B-B14F-4D97-AF65-F5344CB8AC3E}">
        <p14:creationId xmlns:p14="http://schemas.microsoft.com/office/powerpoint/2010/main" val="14456316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1E4C52D0-2E0F-4783-A857-5580C5DB4AAC}"/>
              </a:ext>
            </a:extLst>
          </p:cNvPr>
          <p:cNvGraphicFramePr>
            <a:graphicFrameLocks noChangeAspect="1"/>
          </p:cNvGraphicFramePr>
          <p:nvPr>
            <p:custDataLst>
              <p:tags r:id="rId2"/>
            </p:custDataLst>
            <p:extLst>
              <p:ext uri="{D42A27DB-BD31-4B8C-83A1-F6EECF244321}">
                <p14:modId xmlns:p14="http://schemas.microsoft.com/office/powerpoint/2010/main" val="404044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5845"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B685020B-D18D-4F19-B89C-5223E0F1B24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10" name="Rectangle 9">
            <a:extLst>
              <a:ext uri="{FF2B5EF4-FFF2-40B4-BE49-F238E27FC236}">
                <a16:creationId xmlns:a16="http://schemas.microsoft.com/office/drawing/2014/main" xmlns="" id="{F194475F-8069-46AC-859A-9603894BD4C1}"/>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pic>
        <p:nvPicPr>
          <p:cNvPr id="2" name="Picture 1"/>
          <p:cNvPicPr preferRelativeResize="0">
            <a:picLocks/>
          </p:cNvPicPr>
          <p:nvPr/>
        </p:nvPicPr>
        <p:blipFill rotWithShape="1">
          <a:blip r:embed="rId7">
            <a:extLst>
              <a:ext uri="{28A0092B-C50C-407E-A947-70E740481C1C}">
                <a14:useLocalDpi xmlns:a14="http://schemas.microsoft.com/office/drawing/2010/main" val="0"/>
              </a:ext>
            </a:extLst>
          </a:blip>
          <a:srcRect r="-1266" b="12012"/>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5" name="Title 4"/>
          <p:cNvSpPr>
            <a:spLocks noGrp="1"/>
          </p:cNvSpPr>
          <p:nvPr>
            <p:ph type="title"/>
          </p:nvPr>
        </p:nvSpPr>
        <p:spPr>
          <a:xfrm>
            <a:off x="1007443" y="491650"/>
            <a:ext cx="10213460" cy="609600"/>
          </a:xfrm>
        </p:spPr>
        <p:txBody>
          <a:bodyPr>
            <a:noAutofit/>
          </a:bodyPr>
          <a:lstStyle/>
          <a:p>
            <a:r>
              <a:rPr lang="en-ZA" sz="2400" b="1" dirty="0">
                <a:solidFill>
                  <a:srgbClr val="862624"/>
                </a:solidFill>
              </a:rPr>
              <a:t>Andrew </a:t>
            </a:r>
            <a:r>
              <a:rPr lang="en-ZA" sz="2400" b="1" dirty="0" err="1">
                <a:solidFill>
                  <a:srgbClr val="862624"/>
                </a:solidFill>
              </a:rPr>
              <a:t>Mupuya</a:t>
            </a:r>
            <a:r>
              <a:rPr lang="en-ZA" sz="2400" b="1" dirty="0">
                <a:solidFill>
                  <a:srgbClr val="862624"/>
                </a:solidFill>
              </a:rPr>
              <a:t> – YELI: Manufacturer of paper envelopes &amp; grocery bags</a:t>
            </a:r>
            <a:endParaRPr lang="en-US" sz="2400" b="1" dirty="0">
              <a:solidFill>
                <a:srgbClr val="862624"/>
              </a:solidFill>
            </a:endParaRPr>
          </a:p>
        </p:txBody>
      </p:sp>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862624"/>
              </a:solidFill>
              <a:latin typeface="Garamond" panose="02020404030301010803" pitchFamily="18" charset="0"/>
            </a:endParaRPr>
          </a:p>
          <a:p>
            <a:pPr algn="ctr"/>
            <a:endParaRPr lang="en-US" sz="1600" b="1" dirty="0">
              <a:solidFill>
                <a:srgbClr val="862624"/>
              </a:solidFill>
              <a:latin typeface="Garamond" panose="02020404030301010803" pitchFamily="18" charset="0"/>
            </a:endParaRPr>
          </a:p>
          <a:p>
            <a:pPr algn="ctr"/>
            <a:r>
              <a:rPr lang="en-US" sz="1600" b="1" dirty="0">
                <a:solidFill>
                  <a:srgbClr val="862624"/>
                </a:solidFill>
                <a:latin typeface="Garamond" panose="02020404030301010803" pitchFamily="18" charset="0"/>
              </a:rPr>
              <a:t>ABOUT ANDREW</a:t>
            </a:r>
          </a:p>
          <a:p>
            <a:pPr algn="ctr"/>
            <a:r>
              <a:rPr lang="en-ZA" sz="1400" dirty="0">
                <a:solidFill>
                  <a:srgbClr val="862624"/>
                </a:solidFill>
                <a:latin typeface="Garamond" panose="02020404030301010803" pitchFamily="18" charset="0"/>
              </a:rPr>
              <a:t>Andrew saw a market opportunity in manufacturing paper bags due to the Ugandan government leaning towards banning the use of polythene plastic bags. He now oversees the production of eco-friendly paper bags, that exceeds 60 tons per month, which have been sold locally (Uganda) and to Kenya, Norway, and the USA. Andrew has twice been named by Forbes as one of the top 30 African entrepreneurs below the age of 30 and was the 2012 </a:t>
            </a:r>
            <a:r>
              <a:rPr lang="en-ZA" sz="1400" dirty="0" err="1">
                <a:solidFill>
                  <a:srgbClr val="862624"/>
                </a:solidFill>
                <a:latin typeface="Garamond" panose="02020404030301010803" pitchFamily="18" charset="0"/>
              </a:rPr>
              <a:t>Anzisha</a:t>
            </a:r>
            <a:r>
              <a:rPr lang="en-ZA" sz="1400" dirty="0">
                <a:solidFill>
                  <a:srgbClr val="862624"/>
                </a:solidFill>
                <a:latin typeface="Garamond" panose="02020404030301010803" pitchFamily="18" charset="0"/>
              </a:rPr>
              <a:t> Grand Prize Winner.</a:t>
            </a:r>
          </a:p>
          <a:p>
            <a:pPr algn="ctr"/>
            <a:endParaRPr lang="en-ZA" sz="1400" dirty="0">
              <a:solidFill>
                <a:srgbClr val="862624"/>
              </a:solidFill>
              <a:latin typeface="Garamond" panose="02020404030301010803" pitchFamily="18" charset="0"/>
            </a:endParaRPr>
          </a:p>
          <a:p>
            <a:pPr algn="ctr"/>
            <a:r>
              <a:rPr lang="en-ZA" sz="1400" dirty="0"/>
              <a:t/>
            </a:r>
            <a:br>
              <a:rPr lang="en-ZA" sz="1400" dirty="0"/>
            </a:br>
            <a:endParaRPr lang="en-US" sz="1400" dirty="0">
              <a:solidFill>
                <a:srgbClr val="862624"/>
              </a:solidFill>
              <a:latin typeface="Garamond" panose="02020404030301010803" pitchFamily="18" charset="0"/>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YELI</a:t>
            </a:r>
          </a:p>
          <a:p>
            <a:pPr lvl="1"/>
            <a:r>
              <a:rPr lang="en-US" b="1" dirty="0">
                <a:solidFill>
                  <a:schemeClr val="tx1"/>
                </a:solidFill>
                <a:latin typeface="Garamond"/>
              </a:rPr>
              <a:t>BUSINESS ACTIVITIES: </a:t>
            </a:r>
            <a:r>
              <a:rPr lang="en-US" dirty="0">
                <a:solidFill>
                  <a:schemeClr val="tx1"/>
                </a:solidFill>
                <a:latin typeface="Garamond"/>
              </a:rPr>
              <a:t>YELI manufactures eco-friendly envelopes and grocery paper bags and for individuals and organizations. The company’s products can be found in supermarkets, restaurants, and medical centers in Kampala.</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45</a:t>
            </a:r>
          </a:p>
          <a:p>
            <a:pPr lvl="1"/>
            <a:endParaRPr lang="en-US" dirty="0">
              <a:solidFill>
                <a:schemeClr val="tx1"/>
              </a:solidFill>
              <a:latin typeface="Garamond" panose="02020404030301010803" pitchFamily="18" charset="0"/>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a:solidFill>
                  <a:schemeClr val="tx1"/>
                </a:solidFill>
                <a:latin typeface="Garamond" panose="02020404030301010803" pitchFamily="18" charset="0"/>
              </a:rPr>
              <a:t>Andrew </a:t>
            </a:r>
            <a:r>
              <a:rPr lang="en-ZA" sz="1400" dirty="0" err="1">
                <a:solidFill>
                  <a:schemeClr val="tx1"/>
                </a:solidFill>
                <a:latin typeface="Garamond" panose="02020404030301010803" pitchFamily="18" charset="0"/>
              </a:rPr>
              <a:t>Mupuya</a:t>
            </a:r>
            <a:endParaRPr lang="en-ZA" sz="1400"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www.yelipaperbags.com</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ction="ppaction://hlinksldjump"/>
              </a:rPr>
              <a:t>mupuyaandrew@yelipaperbags.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56 771 498 459</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2708027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F4D75C61-A709-48AD-9CFA-F9F5E0B53578}"/>
              </a:ext>
            </a:extLst>
          </p:cNvPr>
          <p:cNvGraphicFramePr>
            <a:graphicFrameLocks noChangeAspect="1"/>
          </p:cNvGraphicFramePr>
          <p:nvPr>
            <p:custDataLst>
              <p:tags r:id="rId2"/>
            </p:custDataLst>
            <p:extLst>
              <p:ext uri="{D42A27DB-BD31-4B8C-83A1-F6EECF244321}">
                <p14:modId xmlns:p14="http://schemas.microsoft.com/office/powerpoint/2010/main" val="16194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0964"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05934087-448B-4C5B-A6AC-4F13AA70E9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6B959B75-D231-4B7C-8580-4E568E997D28}"/>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800" b="1" dirty="0">
                <a:solidFill>
                  <a:srgbClr val="862624"/>
                </a:solidFill>
                <a:latin typeface="Garamond"/>
              </a:rPr>
              <a:t>Vanessa </a:t>
            </a:r>
            <a:r>
              <a:rPr lang="en-ZA" sz="2800" b="1" dirty="0" err="1">
                <a:solidFill>
                  <a:srgbClr val="862624"/>
                </a:solidFill>
                <a:latin typeface="Garamond"/>
              </a:rPr>
              <a:t>Ishimwe</a:t>
            </a:r>
            <a:r>
              <a:rPr lang="en-ZA" sz="2800" b="1">
                <a:solidFill>
                  <a:srgbClr val="862624"/>
                </a:solidFill>
                <a:latin typeface="Garamond"/>
              </a:rPr>
              <a:t> – YIDA: Early childhood education </a:t>
            </a:r>
            <a:endParaRPr lang="en-US" sz="2800" b="1" dirty="0">
              <a:solidFill>
                <a:srgbClr val="862624"/>
              </a:solidFil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9302" t="712" r="19726" b="10659"/>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VANESSA</a:t>
            </a:r>
          </a:p>
          <a:p>
            <a:pPr algn="ctr"/>
            <a:r>
              <a:rPr lang="en-US" sz="1400" dirty="0">
                <a:solidFill>
                  <a:schemeClr val="accent1"/>
                </a:solidFill>
                <a:latin typeface="Garamond"/>
              </a:rPr>
              <a:t>Vanessa is a Rwandan national who grew up in </a:t>
            </a:r>
            <a:r>
              <a:rPr lang="en-US" sz="1400" dirty="0" err="1">
                <a:solidFill>
                  <a:schemeClr val="accent1"/>
                </a:solidFill>
                <a:latin typeface="Garamond"/>
              </a:rPr>
              <a:t>Kyaka</a:t>
            </a:r>
            <a:r>
              <a:rPr lang="en-US" sz="1400" dirty="0">
                <a:solidFill>
                  <a:schemeClr val="accent1"/>
                </a:solidFill>
                <a:latin typeface="Garamond"/>
              </a:rPr>
              <a:t> refugee Camp in Uganda. Having experienced the challenges of trying to access education in the refugee camp, Vanessa decided she wanted to do something to bring opportunity to young people living in refugee camps.</a:t>
            </a:r>
            <a:endParaRPr lang="en-US" sz="1400" dirty="0">
              <a:solidFill>
                <a:schemeClr val="tx1"/>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YIDA- Youth Initiative for Development in Africa</a:t>
            </a:r>
          </a:p>
          <a:p>
            <a:pPr lvl="1"/>
            <a:r>
              <a:rPr lang="en-US" b="1" dirty="0">
                <a:solidFill>
                  <a:schemeClr val="tx1"/>
                </a:solidFill>
                <a:latin typeface="Garamond"/>
              </a:rPr>
              <a:t>BUSINESS ACTIVITIES: </a:t>
            </a:r>
            <a:r>
              <a:rPr lang="en-US" dirty="0">
                <a:solidFill>
                  <a:schemeClr val="tx1"/>
                </a:solidFill>
                <a:latin typeface="Garamond"/>
              </a:rPr>
              <a:t>YIDA bridges the gap by providing free Early Childhood Education to refugee children through special learning centers and schools. The organization has so far opened three learning centers that have educated 600 children, while also employing 26 refugee youth as teacher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Uganda</a:t>
            </a:r>
          </a:p>
          <a:p>
            <a:pPr lvl="1"/>
            <a:r>
              <a:rPr lang="en-US" b="1" dirty="0">
                <a:solidFill>
                  <a:schemeClr val="tx1"/>
                </a:solidFill>
                <a:latin typeface="Garamond"/>
              </a:rPr>
              <a:t>JOBS CREATED (Full &amp; Part Time): </a:t>
            </a:r>
            <a:r>
              <a:rPr lang="en-US" dirty="0">
                <a:solidFill>
                  <a:schemeClr val="tx1"/>
                </a:solidFill>
                <a:latin typeface="Garamond"/>
              </a:rPr>
              <a:t>28</a:t>
            </a:r>
            <a:endParaRPr lang="en-US" dirty="0">
              <a:solidFill>
                <a:schemeClr val="tx1"/>
              </a:solidFill>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Vanessa </a:t>
            </a:r>
            <a:r>
              <a:rPr lang="en-ZA" sz="1400" dirty="0" err="1">
                <a:solidFill>
                  <a:schemeClr val="tx1"/>
                </a:solidFill>
                <a:latin typeface="Garamond"/>
              </a:rPr>
              <a:t>Ishimwe</a:t>
            </a:r>
            <a:endParaRPr lang="en-ZA" sz="1400" dirty="0" err="1">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 </a:t>
            </a:r>
            <a:r>
              <a:rPr lang="en-ZA" sz="1400" dirty="0">
                <a:solidFill>
                  <a:schemeClr val="tx1"/>
                </a:solidFill>
                <a:latin typeface="Garamond" panose="02020404030301010803" pitchFamily="18" charset="0"/>
                <a:hlinkClick r:id="rId8"/>
              </a:rPr>
              <a:t>https://youthinitiativefda.org</a:t>
            </a:r>
            <a:r>
              <a:rPr lang="en-ZA" sz="1400" dirty="0">
                <a:solidFill>
                  <a:schemeClr val="tx1"/>
                </a:solidFill>
                <a:latin typeface="Garamond" panose="02020404030301010803" pitchFamily="18" charset="0"/>
              </a:rPr>
              <a:t> </a:t>
            </a:r>
            <a:endParaRPr lang="en-ZA" sz="1400" b="1" dirty="0">
              <a:solidFill>
                <a:schemeClr val="tx1"/>
              </a:solidFill>
              <a:latin typeface="Garamond" panose="02020404030301010803" pitchFamily="18" charset="0"/>
            </a:endParaRP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ivanyshe25@gmail.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56 770 884 547</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15438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9F1D425-0E70-47B1-824E-DF16B9118629}"/>
              </a:ext>
            </a:extLst>
          </p:cNvPr>
          <p:cNvGraphicFramePr>
            <a:graphicFrameLocks noChangeAspect="1"/>
          </p:cNvGraphicFramePr>
          <p:nvPr>
            <p:custDataLst>
              <p:tags r:id="rId2"/>
            </p:custDataLst>
            <p:extLst>
              <p:ext uri="{D42A27DB-BD31-4B8C-83A1-F6EECF244321}">
                <p14:modId xmlns:p14="http://schemas.microsoft.com/office/powerpoint/2010/main" val="1007633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6869"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8E37AD7C-684A-4271-9310-D49A198145B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F2E2527B-60D5-4C00-A328-BCFE320A2776}"/>
              </a:ext>
            </a:extLst>
          </p:cNvPr>
          <p:cNvSpPr/>
          <p:nvPr/>
        </p:nvSpPr>
        <p:spPr>
          <a:xfrm>
            <a:off x="105551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9" name="Title 4"/>
          <p:cNvSpPr>
            <a:spLocks noGrp="1"/>
          </p:cNvSpPr>
          <p:nvPr>
            <p:ph type="title"/>
          </p:nvPr>
        </p:nvSpPr>
        <p:spPr>
          <a:xfrm>
            <a:off x="989270" y="477060"/>
            <a:ext cx="10213460" cy="609600"/>
          </a:xfrm>
        </p:spPr>
        <p:txBody>
          <a:bodyPr anchor="t">
            <a:noAutofit/>
          </a:bodyPr>
          <a:lstStyle/>
          <a:p>
            <a:r>
              <a:rPr lang="en-ZA" sz="2400" b="1" dirty="0">
                <a:solidFill>
                  <a:srgbClr val="862624"/>
                </a:solidFill>
                <a:latin typeface="Garamond"/>
              </a:rPr>
              <a:t>Jariatou Jallow – </a:t>
            </a:r>
            <a:r>
              <a:rPr lang="en-ZA" sz="2400" b="1" dirty="0" err="1">
                <a:solidFill>
                  <a:srgbClr val="862624"/>
                </a:solidFill>
                <a:latin typeface="Garamond"/>
              </a:rPr>
              <a:t>Yonima</a:t>
            </a:r>
            <a:r>
              <a:rPr lang="en-ZA" sz="2400" b="1" dirty="0">
                <a:solidFill>
                  <a:srgbClr val="862624"/>
                </a:solidFill>
                <a:latin typeface="Garamond"/>
              </a:rPr>
              <a:t> Errands Runner: Administration &amp; delivery service</a:t>
            </a:r>
            <a:endParaRPr lang="en-US" sz="2400" b="1" dirty="0">
              <a:solidFill>
                <a:srgbClr val="862624"/>
              </a:solidFill>
              <a:latin typeface="Garamond"/>
            </a:endParaRPr>
          </a:p>
        </p:txBody>
      </p:sp>
      <p:pic>
        <p:nvPicPr>
          <p:cNvPr id="14" name="Picture 13"/>
          <p:cNvPicPr preferRelativeResize="0">
            <a:picLocks/>
          </p:cNvPicPr>
          <p:nvPr/>
        </p:nvPicPr>
        <p:blipFill rotWithShape="1">
          <a:blip r:embed="rId8" cstate="print">
            <a:extLst>
              <a:ext uri="{28A0092B-C50C-407E-A947-70E740481C1C}">
                <a14:useLocalDpi xmlns:a14="http://schemas.microsoft.com/office/drawing/2010/main" val="0"/>
              </a:ext>
            </a:extLst>
          </a:blip>
          <a:srcRect l="2524" t="3739" r="5023" b="7783"/>
          <a:stretch/>
        </p:blipFill>
        <p:spPr>
          <a:xfrm>
            <a:off x="1293712" y="1879720"/>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15" name="Rectangle 14"/>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JARIATOU</a:t>
            </a:r>
          </a:p>
          <a:p>
            <a:pPr algn="ctr"/>
            <a:r>
              <a:rPr lang="en-US" sz="1400" dirty="0">
                <a:solidFill>
                  <a:srgbClr val="862624"/>
                </a:solidFill>
                <a:latin typeface="Garamond"/>
              </a:rPr>
              <a:t>Jariatou Jallow is a third-year Computer Science student at the University of The Gambia. Jariatou helped launch Door Step Express as the first courier service in Gambia. Motivated by the success of Door Step Express, </a:t>
            </a:r>
            <a:r>
              <a:rPr lang="en-US" sz="1400" dirty="0" err="1">
                <a:solidFill>
                  <a:srgbClr val="862624"/>
                </a:solidFill>
                <a:latin typeface="Garamond"/>
              </a:rPr>
              <a:t>Jariatou</a:t>
            </a:r>
            <a:r>
              <a:rPr lang="en-US" sz="1400" dirty="0">
                <a:solidFill>
                  <a:srgbClr val="862624"/>
                </a:solidFill>
                <a:latin typeface="Garamond"/>
              </a:rPr>
              <a:t> decided to start </a:t>
            </a:r>
            <a:r>
              <a:rPr lang="en-US" sz="1400" dirty="0" err="1">
                <a:solidFill>
                  <a:srgbClr val="862624"/>
                </a:solidFill>
                <a:latin typeface="Garamond"/>
              </a:rPr>
              <a:t>Yonima</a:t>
            </a:r>
            <a:r>
              <a:rPr lang="en-US" sz="1400" dirty="0">
                <a:solidFill>
                  <a:srgbClr val="862624"/>
                </a:solidFill>
                <a:latin typeface="Garamond"/>
              </a:rPr>
              <a:t> Errands Runner.</a:t>
            </a:r>
          </a:p>
        </p:txBody>
      </p:sp>
      <p:sp>
        <p:nvSpPr>
          <p:cNvPr id="16" name="Rectangle 15"/>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err="1">
                <a:solidFill>
                  <a:schemeClr val="tx1"/>
                </a:solidFill>
                <a:latin typeface="Garamond" panose="02020404030301010803" pitchFamily="18" charset="0"/>
              </a:rPr>
              <a:t>Yonima</a:t>
            </a:r>
            <a:r>
              <a:rPr lang="en-US" dirty="0">
                <a:solidFill>
                  <a:schemeClr val="tx1"/>
                </a:solidFill>
                <a:latin typeface="Garamond" panose="02020404030301010803" pitchFamily="18" charset="0"/>
              </a:rPr>
              <a:t> Errands Runner</a:t>
            </a:r>
          </a:p>
          <a:p>
            <a:pPr lvl="1"/>
            <a:r>
              <a:rPr lang="en-US" b="1" dirty="0">
                <a:solidFill>
                  <a:schemeClr val="tx1"/>
                </a:solidFill>
                <a:latin typeface="Garamond" panose="02020404030301010803" pitchFamily="18" charset="0"/>
              </a:rPr>
              <a:t>BUSINESS ACTIVITIES: </a:t>
            </a:r>
            <a:r>
              <a:rPr lang="en-US" dirty="0" err="1">
                <a:solidFill>
                  <a:schemeClr val="tx1"/>
                </a:solidFill>
                <a:latin typeface="Garamond" panose="02020404030301010803" pitchFamily="18" charset="0"/>
              </a:rPr>
              <a:t>Yonima</a:t>
            </a:r>
            <a:r>
              <a:rPr lang="en-US" dirty="0">
                <a:solidFill>
                  <a:schemeClr val="tx1"/>
                </a:solidFill>
                <a:latin typeface="Garamond" panose="02020404030301010803" pitchFamily="18" charset="0"/>
              </a:rPr>
              <a:t> Errands provides business and personal errands services such as business registration, bank account registration, and shopping pick-up and delivery for households and businesses.</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Gambi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4</a:t>
            </a:r>
          </a:p>
        </p:txBody>
      </p:sp>
      <p:sp>
        <p:nvSpPr>
          <p:cNvPr id="17" name="Rectangular Callout 16"/>
          <p:cNvSpPr/>
          <p:nvPr/>
        </p:nvSpPr>
        <p:spPr>
          <a:xfrm>
            <a:off x="105551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err="1">
                <a:solidFill>
                  <a:schemeClr val="tx1"/>
                </a:solidFill>
                <a:latin typeface="Garamond"/>
              </a:rPr>
              <a:t>Jariatou</a:t>
            </a:r>
            <a:r>
              <a:rPr lang="en-ZA" sz="1400" dirty="0">
                <a:solidFill>
                  <a:schemeClr val="tx1"/>
                </a:solidFill>
                <a:latin typeface="Garamond"/>
              </a:rPr>
              <a:t> </a:t>
            </a:r>
            <a:r>
              <a:rPr lang="en-ZA" sz="1400" dirty="0" err="1">
                <a:solidFill>
                  <a:schemeClr val="tx1"/>
                </a:solidFill>
                <a:latin typeface="Garamond"/>
              </a:rPr>
              <a:t>Jallow</a:t>
            </a:r>
          </a:p>
          <a:p>
            <a:r>
              <a:rPr lang="en-ZA" sz="1400" b="1" dirty="0">
                <a:solidFill>
                  <a:schemeClr val="tx1"/>
                </a:solidFill>
                <a:latin typeface="Garamond"/>
              </a:rPr>
              <a:t>Website: </a:t>
            </a:r>
            <a:r>
              <a:rPr lang="en-ZA" sz="1400" dirty="0">
                <a:solidFill>
                  <a:schemeClr val="tx1"/>
                </a:solidFill>
                <a:latin typeface="Garamond"/>
                <a:hlinkClick r:id="rId9"/>
              </a:rPr>
              <a:t>https://yonimaerrandsrunner.com</a:t>
            </a:r>
            <a:r>
              <a:rPr lang="en-ZA" sz="1400" dirty="0">
                <a:solidFill>
                  <a:schemeClr val="tx1"/>
                </a:solidFill>
                <a:latin typeface="Garamond"/>
              </a:rPr>
              <a:t> </a:t>
            </a:r>
            <a:endParaRPr lang="en-ZA" sz="1400" u="sng" dirty="0">
              <a:solidFill>
                <a:schemeClr val="tx1"/>
              </a:solidFill>
              <a:latin typeface="Garamond"/>
            </a:endParaRPr>
          </a:p>
          <a:p>
            <a:r>
              <a:rPr lang="en-ZA" sz="1400" b="1" dirty="0">
                <a:solidFill>
                  <a:schemeClr val="tx1"/>
                </a:solidFill>
                <a:latin typeface="Garamond"/>
              </a:rPr>
              <a:t>Email: </a:t>
            </a:r>
            <a:r>
              <a:rPr lang="en-ZA" sz="1400" u="sng" dirty="0">
                <a:latin typeface="Garamond"/>
                <a:hlinkClick r:id="rId10"/>
              </a:rPr>
              <a:t>yonimasendme@gmail.com</a:t>
            </a:r>
            <a:endParaRPr lang="en-ZA" sz="1400" u="sng" dirty="0">
              <a:latin typeface="Garamond"/>
            </a:endParaRPr>
          </a:p>
          <a:p>
            <a:r>
              <a:rPr lang="en-ZA" sz="1400" b="1" dirty="0">
                <a:solidFill>
                  <a:schemeClr val="tx1"/>
                </a:solidFill>
                <a:latin typeface="Garamond" panose="02020404030301010803" pitchFamily="18" charset="0"/>
              </a:rPr>
              <a:t>WhatsApp: </a:t>
            </a:r>
            <a:r>
              <a:rPr lang="en-ZA" sz="1400" dirty="0">
                <a:solidFill>
                  <a:schemeClr val="tx1"/>
                </a:solidFill>
                <a:latin typeface="Garamond" panose="02020404030301010803" pitchFamily="18" charset="0"/>
              </a:rPr>
              <a:t>+220 319 94 69</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34042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C494566C-2992-4E05-96C0-513B14989B52}"/>
              </a:ext>
            </a:extLst>
          </p:cNvPr>
          <p:cNvGraphicFramePr>
            <a:graphicFrameLocks noChangeAspect="1"/>
          </p:cNvGraphicFramePr>
          <p:nvPr>
            <p:custDataLst>
              <p:tags r:id="rId2"/>
            </p:custDataLst>
            <p:extLst>
              <p:ext uri="{D42A27DB-BD31-4B8C-83A1-F6EECF244321}">
                <p14:modId xmlns:p14="http://schemas.microsoft.com/office/powerpoint/2010/main" val="40026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1988"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31EAB311-BD3C-47C0-B187-30C45DCC20F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D89F5129-0595-436B-A7AD-8DD4E92A5E32}"/>
              </a:ext>
            </a:extLst>
          </p:cNvPr>
          <p:cNvSpPr/>
          <p:nvPr/>
        </p:nvSpPr>
        <p:spPr>
          <a:xfrm>
            <a:off x="1049480"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Autofit/>
          </a:bodyPr>
          <a:lstStyle/>
          <a:p>
            <a:r>
              <a:rPr lang="en-ZA" sz="2800" b="1" dirty="0">
                <a:solidFill>
                  <a:srgbClr val="862624"/>
                </a:solidFill>
                <a:latin typeface="Garamond"/>
              </a:rPr>
              <a:t>Alina </a:t>
            </a:r>
            <a:r>
              <a:rPr lang="en-ZA" sz="2800" b="1" dirty="0" err="1">
                <a:solidFill>
                  <a:srgbClr val="862624"/>
                </a:solidFill>
                <a:latin typeface="Garamond"/>
              </a:rPr>
              <a:t>Karimamusama</a:t>
            </a:r>
            <a:r>
              <a:rPr lang="en-ZA" sz="2800" b="1" dirty="0">
                <a:solidFill>
                  <a:srgbClr val="862624"/>
                </a:solidFill>
                <a:latin typeface="Garamond"/>
              </a:rPr>
              <a:t> – Yoni Wash: Feminine hygiene products</a:t>
            </a:r>
            <a:endParaRPr lang="en-US" sz="2800" b="1" dirty="0">
              <a:solidFill>
                <a:srgbClr val="862624"/>
              </a:solidFill>
              <a:latin typeface="Garamond"/>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13111" t="5301" r="19994" b="6282"/>
          <a:stretch/>
        </p:blipFill>
        <p:spPr>
          <a:xfrm>
            <a:off x="1293712" y="1879719"/>
            <a:ext cx="2729250" cy="2371343"/>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panose="02020404030301010803" pitchFamily="18" charset="0"/>
              </a:rPr>
              <a:t>ABOUT ALINA</a:t>
            </a:r>
            <a:r>
              <a:rPr lang="en-US" sz="1600" b="1" dirty="0">
                <a:latin typeface="Garamond" panose="02020404030301010803" pitchFamily="18" charset="0"/>
              </a:rPr>
              <a:t/>
            </a:r>
            <a:br>
              <a:rPr lang="en-US" sz="1600" b="1" dirty="0">
                <a:latin typeface="Garamond" panose="02020404030301010803" pitchFamily="18" charset="0"/>
              </a:rPr>
            </a:br>
            <a:r>
              <a:rPr lang="en-US" sz="1400" dirty="0">
                <a:solidFill>
                  <a:schemeClr val="accent1"/>
                </a:solidFill>
                <a:latin typeface="Garamond"/>
              </a:rPr>
              <a:t>Alina is driven to solve the challenges of gender inequality and economic marginalization facing women and youth in Zambia. She founded The Women’s Economic Empowerment Project when she was 16 years old; a social enterprise that equips women with sustainable development skills and strives to end poverty. Alina went on to  launch Yoni Wash in 2019.</a:t>
            </a: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panose="02020404030301010803" pitchFamily="18" charset="0"/>
              </a:rPr>
              <a:t>NAME OF BUSINESS: </a:t>
            </a:r>
            <a:r>
              <a:rPr lang="en-US" dirty="0">
                <a:solidFill>
                  <a:schemeClr val="tx1"/>
                </a:solidFill>
                <a:latin typeface="Garamond" panose="02020404030301010803" pitchFamily="18" charset="0"/>
              </a:rPr>
              <a:t>Yoni Wash Zambia</a:t>
            </a:r>
          </a:p>
          <a:p>
            <a:pPr lvl="1"/>
            <a:r>
              <a:rPr lang="en-US" b="1" dirty="0">
                <a:solidFill>
                  <a:schemeClr val="tx1"/>
                </a:solidFill>
                <a:latin typeface="Garamond"/>
              </a:rPr>
              <a:t>BUSINESS ACTIVITIES: </a:t>
            </a:r>
            <a:r>
              <a:rPr lang="en-US" dirty="0">
                <a:solidFill>
                  <a:schemeClr val="tx1"/>
                </a:solidFill>
                <a:latin typeface="Garamond"/>
              </a:rPr>
              <a:t>Yoni Wash is a range of organic intimate hygiene washes for women. Yoni Wash has created a range of six products to caters for the diverse needs of women. Yoni Wash is sold in Zambia and has distributors in South Africa, Namibia, and Malawi.</a:t>
            </a:r>
          </a:p>
          <a:p>
            <a:pPr lvl="1"/>
            <a:r>
              <a:rPr lang="en-US" b="1" dirty="0">
                <a:solidFill>
                  <a:schemeClr val="tx1"/>
                </a:solidFill>
                <a:latin typeface="Garamond" panose="02020404030301010803" pitchFamily="18" charset="0"/>
              </a:rPr>
              <a:t>BUSINESS LOCATION: </a:t>
            </a:r>
            <a:r>
              <a:rPr lang="en-US" dirty="0">
                <a:solidFill>
                  <a:schemeClr val="tx1"/>
                </a:solidFill>
                <a:latin typeface="Garamond" panose="02020404030301010803" pitchFamily="18" charset="0"/>
              </a:rPr>
              <a:t>Zambia</a:t>
            </a:r>
          </a:p>
          <a:p>
            <a:pPr lvl="1"/>
            <a:r>
              <a:rPr lang="en-US" b="1" dirty="0">
                <a:solidFill>
                  <a:schemeClr val="tx1"/>
                </a:solidFill>
                <a:latin typeface="Garamond"/>
              </a:rPr>
              <a:t>JOBS CREATED (Full &amp; Part Time): </a:t>
            </a:r>
            <a:r>
              <a:rPr lang="en-US" dirty="0">
                <a:solidFill>
                  <a:schemeClr val="tx1"/>
                </a:solidFill>
                <a:latin typeface="Garamond"/>
              </a:rPr>
              <a:t>14</a:t>
            </a:r>
          </a:p>
        </p:txBody>
      </p:sp>
      <p:sp>
        <p:nvSpPr>
          <p:cNvPr id="4" name="Rectangular Callout 3"/>
          <p:cNvSpPr/>
          <p:nvPr/>
        </p:nvSpPr>
        <p:spPr>
          <a:xfrm>
            <a:off x="1048795" y="4698125"/>
            <a:ext cx="3218400"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panose="02020404030301010803" pitchFamily="18" charset="0"/>
              </a:rPr>
              <a:t>Contact: </a:t>
            </a:r>
            <a:r>
              <a:rPr lang="en-ZA" sz="1400" dirty="0" err="1">
                <a:solidFill>
                  <a:schemeClr val="tx1"/>
                </a:solidFill>
                <a:latin typeface="Garamond" panose="02020404030301010803" pitchFamily="18" charset="0"/>
              </a:rPr>
              <a:t>Alian</a:t>
            </a:r>
            <a:r>
              <a:rPr lang="en-ZA" sz="1400" dirty="0">
                <a:solidFill>
                  <a:schemeClr val="tx1"/>
                </a:solidFill>
                <a:latin typeface="Garamond" panose="02020404030301010803" pitchFamily="18" charset="0"/>
              </a:rPr>
              <a:t> </a:t>
            </a:r>
            <a:r>
              <a:rPr lang="en-ZA" sz="1400" dirty="0" err="1">
                <a:solidFill>
                  <a:schemeClr val="tx1"/>
                </a:solidFill>
                <a:latin typeface="Garamond" panose="02020404030301010803" pitchFamily="18" charset="0"/>
              </a:rPr>
              <a:t>Karimamusama</a:t>
            </a:r>
            <a:endParaRPr lang="en-ZA" sz="1400" dirty="0">
              <a:solidFill>
                <a:schemeClr val="tx1"/>
              </a:solidFill>
              <a:latin typeface="Garamond" panose="02020404030301010803" pitchFamily="18" charset="0"/>
            </a:endParaRPr>
          </a:p>
          <a:p>
            <a:r>
              <a:rPr lang="en-US" sz="1400" b="1" dirty="0">
                <a:solidFill>
                  <a:schemeClr val="tx1"/>
                </a:solidFill>
                <a:latin typeface="Garamond" panose="02020404030301010803" pitchFamily="18" charset="0"/>
              </a:rPr>
              <a:t>Website:</a:t>
            </a:r>
          </a:p>
          <a:p>
            <a:r>
              <a:rPr lang="en-ZA" sz="1400" dirty="0">
                <a:solidFill>
                  <a:schemeClr val="tx1"/>
                </a:solidFill>
                <a:latin typeface="Garamond" panose="02020404030301010803" pitchFamily="18" charset="0"/>
                <a:hlinkClick r:id="rId8"/>
              </a:rPr>
              <a:t>https://instagram.com/yonisteamzambia</a:t>
            </a:r>
            <a:r>
              <a:rPr lang="en-ZA" sz="1400" dirty="0">
                <a:solidFill>
                  <a:schemeClr val="tx1"/>
                </a:solidFill>
                <a:latin typeface="Garamond" panose="02020404030301010803" pitchFamily="18" charset="0"/>
              </a:rPr>
              <a:t> </a:t>
            </a:r>
          </a:p>
          <a:p>
            <a:r>
              <a:rPr lang="en-ZA" sz="1400" b="1" dirty="0">
                <a:solidFill>
                  <a:schemeClr val="tx1"/>
                </a:solidFill>
                <a:latin typeface="Garamond" panose="02020404030301010803" pitchFamily="18" charset="0"/>
              </a:rPr>
              <a:t>Email: </a:t>
            </a:r>
            <a:r>
              <a:rPr lang="en-ZA" sz="1400" dirty="0">
                <a:solidFill>
                  <a:schemeClr val="tx1"/>
                </a:solidFill>
                <a:latin typeface="Garamond" panose="02020404030301010803" pitchFamily="18" charset="0"/>
                <a:hlinkClick r:id="rId9"/>
              </a:rPr>
              <a:t>alina.m.kari@gmail.com</a:t>
            </a:r>
            <a:endParaRPr lang="en-ZA" sz="1400" dirty="0">
              <a:solidFill>
                <a:schemeClr val="tx1"/>
              </a:solidFill>
              <a:latin typeface="Garamond" panose="02020404030301010803" pitchFamily="18" charset="0"/>
            </a:endParaRPr>
          </a:p>
          <a:p>
            <a:r>
              <a:rPr lang="en-ZA" sz="1400" b="1" dirty="0">
                <a:solidFill>
                  <a:schemeClr val="tx1"/>
                </a:solidFill>
                <a:latin typeface="Garamond"/>
              </a:rPr>
              <a:t>WhatsApp: </a:t>
            </a:r>
            <a:r>
              <a:rPr lang="en-ZA" sz="1400" dirty="0">
                <a:solidFill>
                  <a:schemeClr val="tx1"/>
                </a:solidFill>
                <a:latin typeface="Garamond"/>
              </a:rPr>
              <a:t>+260 963 741 831</a:t>
            </a:r>
            <a:endParaRPr lang="en-GB" sz="1400" dirty="0">
              <a:solidFill>
                <a:schemeClr val="tx1"/>
              </a:solidFill>
              <a:latin typeface="Garamond" panose="02020404030301010803" pitchFamily="18" charset="0"/>
            </a:endParaRPr>
          </a:p>
        </p:txBody>
      </p:sp>
    </p:spTree>
    <p:extLst>
      <p:ext uri="{BB962C8B-B14F-4D97-AF65-F5344CB8AC3E}">
        <p14:creationId xmlns:p14="http://schemas.microsoft.com/office/powerpoint/2010/main" val="4286507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A1110F4-CAEA-49BF-AB95-53443EB17877}" type="slidenum">
              <a:rPr lang="en-US" smtClean="0"/>
              <a:t>87</a:t>
            </a:fld>
            <a:endParaRPr lang="en-US" dirty="0"/>
          </a:p>
        </p:txBody>
      </p:sp>
      <p:sp>
        <p:nvSpPr>
          <p:cNvPr id="5" name="Rectangle 4"/>
          <p:cNvSpPr/>
          <p:nvPr/>
        </p:nvSpPr>
        <p:spPr>
          <a:xfrm>
            <a:off x="1588" y="0"/>
            <a:ext cx="12193066" cy="68502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Garamond" panose="02020404030301010803" pitchFamily="18" charset="0"/>
            </a:endParaRPr>
          </a:p>
        </p:txBody>
      </p:sp>
      <p:sp>
        <p:nvSpPr>
          <p:cNvPr id="6" name="Freeform 2"/>
          <p:cNvSpPr>
            <a:spLocks noEditPoints="1"/>
          </p:cNvSpPr>
          <p:nvPr/>
        </p:nvSpPr>
        <p:spPr bwMode="gray">
          <a:xfrm>
            <a:off x="8402366" y="232014"/>
            <a:ext cx="2676634" cy="3107104"/>
          </a:xfrm>
          <a:custGeom>
            <a:avLst/>
            <a:gdLst/>
            <a:ahLst/>
            <a:cxnLst>
              <a:cxn ang="0">
                <a:pos x="990" y="1011"/>
              </a:cxn>
              <a:cxn ang="0">
                <a:pos x="1140" y="940"/>
              </a:cxn>
              <a:cxn ang="0">
                <a:pos x="1140" y="1031"/>
              </a:cxn>
              <a:cxn ang="0">
                <a:pos x="1114" y="1148"/>
              </a:cxn>
              <a:cxn ang="0">
                <a:pos x="1049" y="1148"/>
              </a:cxn>
              <a:cxn ang="0">
                <a:pos x="1056" y="1044"/>
              </a:cxn>
              <a:cxn ang="0">
                <a:pos x="1101" y="998"/>
              </a:cxn>
              <a:cxn ang="0">
                <a:pos x="1134" y="946"/>
              </a:cxn>
              <a:cxn ang="0">
                <a:pos x="990" y="829"/>
              </a:cxn>
              <a:cxn ang="0">
                <a:pos x="488" y="705"/>
              </a:cxn>
              <a:cxn ang="0">
                <a:pos x="150" y="503"/>
              </a:cxn>
              <a:cxn ang="0">
                <a:pos x="45" y="418"/>
              </a:cxn>
              <a:cxn ang="0">
                <a:pos x="560" y="53"/>
              </a:cxn>
              <a:cxn ang="0">
                <a:pos x="547" y="59"/>
              </a:cxn>
              <a:cxn ang="0">
                <a:pos x="625" y="124"/>
              </a:cxn>
              <a:cxn ang="0">
                <a:pos x="704" y="98"/>
              </a:cxn>
              <a:cxn ang="0">
                <a:pos x="808" y="131"/>
              </a:cxn>
              <a:cxn ang="0">
                <a:pos x="867" y="124"/>
              </a:cxn>
              <a:cxn ang="0">
                <a:pos x="912" y="170"/>
              </a:cxn>
              <a:cxn ang="0">
                <a:pos x="886" y="177"/>
              </a:cxn>
              <a:cxn ang="0">
                <a:pos x="919" y="255"/>
              </a:cxn>
              <a:cxn ang="0">
                <a:pos x="951" y="346"/>
              </a:cxn>
              <a:cxn ang="0">
                <a:pos x="997" y="431"/>
              </a:cxn>
              <a:cxn ang="0">
                <a:pos x="1049" y="509"/>
              </a:cxn>
              <a:cxn ang="0">
                <a:pos x="1153" y="503"/>
              </a:cxn>
              <a:cxn ang="0">
                <a:pos x="1147" y="568"/>
              </a:cxn>
              <a:cxn ang="0">
                <a:pos x="1082" y="672"/>
              </a:cxn>
              <a:cxn ang="0">
                <a:pos x="1010" y="757"/>
              </a:cxn>
              <a:cxn ang="0">
                <a:pos x="984" y="848"/>
              </a:cxn>
              <a:cxn ang="0">
                <a:pos x="1003" y="966"/>
              </a:cxn>
              <a:cxn ang="0">
                <a:pos x="951" y="1044"/>
              </a:cxn>
              <a:cxn ang="0">
                <a:pos x="919" y="1109"/>
              </a:cxn>
              <a:cxn ang="0">
                <a:pos x="893" y="1188"/>
              </a:cxn>
              <a:cxn ang="0">
                <a:pos x="860" y="1279"/>
              </a:cxn>
              <a:cxn ang="0">
                <a:pos x="769" y="1357"/>
              </a:cxn>
              <a:cxn ang="0">
                <a:pos x="665" y="1357"/>
              </a:cxn>
              <a:cxn ang="0">
                <a:pos x="645" y="1266"/>
              </a:cxn>
              <a:cxn ang="0">
                <a:pos x="606" y="1161"/>
              </a:cxn>
              <a:cxn ang="0">
                <a:pos x="573" y="1057"/>
              </a:cxn>
              <a:cxn ang="0">
                <a:pos x="593" y="940"/>
              </a:cxn>
              <a:cxn ang="0">
                <a:pos x="586" y="855"/>
              </a:cxn>
              <a:cxn ang="0">
                <a:pos x="547" y="770"/>
              </a:cxn>
              <a:cxn ang="0">
                <a:pos x="521" y="731"/>
              </a:cxn>
              <a:cxn ang="0">
                <a:pos x="534" y="672"/>
              </a:cxn>
              <a:cxn ang="0">
                <a:pos x="495" y="627"/>
              </a:cxn>
              <a:cxn ang="0">
                <a:pos x="456" y="600"/>
              </a:cxn>
              <a:cxn ang="0">
                <a:pos x="378" y="620"/>
              </a:cxn>
              <a:cxn ang="0">
                <a:pos x="319" y="620"/>
              </a:cxn>
              <a:cxn ang="0">
                <a:pos x="247" y="614"/>
              </a:cxn>
              <a:cxn ang="0">
                <a:pos x="189" y="555"/>
              </a:cxn>
              <a:cxn ang="0">
                <a:pos x="163" y="516"/>
              </a:cxn>
              <a:cxn ang="0">
                <a:pos x="143" y="490"/>
              </a:cxn>
              <a:cxn ang="0">
                <a:pos x="136" y="483"/>
              </a:cxn>
              <a:cxn ang="0">
                <a:pos x="136" y="450"/>
              </a:cxn>
              <a:cxn ang="0">
                <a:pos x="143" y="359"/>
              </a:cxn>
              <a:cxn ang="0">
                <a:pos x="150" y="274"/>
              </a:cxn>
              <a:cxn ang="0">
                <a:pos x="189" y="203"/>
              </a:cxn>
              <a:cxn ang="0">
                <a:pos x="234" y="124"/>
              </a:cxn>
              <a:cxn ang="0">
                <a:pos x="299" y="33"/>
              </a:cxn>
              <a:cxn ang="0">
                <a:pos x="397" y="26"/>
              </a:cxn>
              <a:cxn ang="0">
                <a:pos x="495" y="7"/>
              </a:cxn>
            </a:cxnLst>
            <a:rect l="0" t="0" r="r" b="b"/>
            <a:pathLst>
              <a:path w="1264" h="1625">
                <a:moveTo>
                  <a:pt x="964" y="1625"/>
                </a:moveTo>
                <a:lnTo>
                  <a:pt x="958" y="1625"/>
                </a:lnTo>
                <a:lnTo>
                  <a:pt x="964" y="1625"/>
                </a:lnTo>
                <a:close/>
                <a:moveTo>
                  <a:pt x="1232" y="1109"/>
                </a:moveTo>
                <a:lnTo>
                  <a:pt x="1225" y="1109"/>
                </a:lnTo>
                <a:lnTo>
                  <a:pt x="1225" y="1103"/>
                </a:lnTo>
                <a:lnTo>
                  <a:pt x="1232" y="1103"/>
                </a:lnTo>
                <a:lnTo>
                  <a:pt x="1238" y="1103"/>
                </a:lnTo>
                <a:lnTo>
                  <a:pt x="1238" y="1109"/>
                </a:lnTo>
                <a:lnTo>
                  <a:pt x="1232" y="1109"/>
                </a:lnTo>
                <a:close/>
                <a:moveTo>
                  <a:pt x="1264" y="1096"/>
                </a:moveTo>
                <a:lnTo>
                  <a:pt x="1258" y="1096"/>
                </a:lnTo>
                <a:lnTo>
                  <a:pt x="1258" y="1090"/>
                </a:lnTo>
                <a:lnTo>
                  <a:pt x="1264" y="1083"/>
                </a:lnTo>
                <a:lnTo>
                  <a:pt x="1264" y="1090"/>
                </a:lnTo>
                <a:lnTo>
                  <a:pt x="1264" y="1096"/>
                </a:lnTo>
                <a:close/>
                <a:moveTo>
                  <a:pt x="1147" y="1031"/>
                </a:moveTo>
                <a:lnTo>
                  <a:pt x="1147" y="1024"/>
                </a:lnTo>
                <a:lnTo>
                  <a:pt x="1147" y="1031"/>
                </a:lnTo>
                <a:close/>
                <a:moveTo>
                  <a:pt x="990" y="1018"/>
                </a:moveTo>
                <a:lnTo>
                  <a:pt x="990" y="1011"/>
                </a:lnTo>
                <a:lnTo>
                  <a:pt x="990" y="1018"/>
                </a:lnTo>
                <a:close/>
                <a:moveTo>
                  <a:pt x="299" y="1011"/>
                </a:moveTo>
                <a:lnTo>
                  <a:pt x="299" y="1005"/>
                </a:lnTo>
                <a:lnTo>
                  <a:pt x="299" y="1011"/>
                </a:lnTo>
                <a:close/>
                <a:moveTo>
                  <a:pt x="1075" y="953"/>
                </a:moveTo>
                <a:lnTo>
                  <a:pt x="1069" y="953"/>
                </a:lnTo>
                <a:lnTo>
                  <a:pt x="1075" y="953"/>
                </a:lnTo>
                <a:lnTo>
                  <a:pt x="1069" y="946"/>
                </a:lnTo>
                <a:lnTo>
                  <a:pt x="1075" y="946"/>
                </a:lnTo>
                <a:lnTo>
                  <a:pt x="1075" y="953"/>
                </a:lnTo>
                <a:close/>
                <a:moveTo>
                  <a:pt x="1056" y="940"/>
                </a:moveTo>
                <a:lnTo>
                  <a:pt x="1049" y="940"/>
                </a:lnTo>
                <a:lnTo>
                  <a:pt x="1056" y="940"/>
                </a:lnTo>
                <a:close/>
                <a:moveTo>
                  <a:pt x="1062" y="933"/>
                </a:moveTo>
                <a:lnTo>
                  <a:pt x="1062" y="940"/>
                </a:lnTo>
                <a:lnTo>
                  <a:pt x="1056" y="940"/>
                </a:lnTo>
                <a:lnTo>
                  <a:pt x="1062" y="940"/>
                </a:lnTo>
                <a:lnTo>
                  <a:pt x="1062" y="933"/>
                </a:lnTo>
                <a:close/>
                <a:moveTo>
                  <a:pt x="1134" y="933"/>
                </a:moveTo>
                <a:lnTo>
                  <a:pt x="1134" y="940"/>
                </a:lnTo>
                <a:lnTo>
                  <a:pt x="1140" y="940"/>
                </a:lnTo>
                <a:lnTo>
                  <a:pt x="1140" y="946"/>
                </a:lnTo>
                <a:lnTo>
                  <a:pt x="1147" y="953"/>
                </a:lnTo>
                <a:lnTo>
                  <a:pt x="1147" y="959"/>
                </a:lnTo>
                <a:lnTo>
                  <a:pt x="1147" y="966"/>
                </a:lnTo>
                <a:lnTo>
                  <a:pt x="1147" y="972"/>
                </a:lnTo>
                <a:lnTo>
                  <a:pt x="1147" y="979"/>
                </a:lnTo>
                <a:lnTo>
                  <a:pt x="1153" y="985"/>
                </a:lnTo>
                <a:lnTo>
                  <a:pt x="1153" y="992"/>
                </a:lnTo>
                <a:lnTo>
                  <a:pt x="1153" y="998"/>
                </a:lnTo>
                <a:lnTo>
                  <a:pt x="1153" y="1005"/>
                </a:lnTo>
                <a:lnTo>
                  <a:pt x="1147" y="1011"/>
                </a:lnTo>
                <a:lnTo>
                  <a:pt x="1147" y="1005"/>
                </a:lnTo>
                <a:lnTo>
                  <a:pt x="1147" y="998"/>
                </a:lnTo>
                <a:lnTo>
                  <a:pt x="1140" y="998"/>
                </a:lnTo>
                <a:lnTo>
                  <a:pt x="1140" y="1005"/>
                </a:lnTo>
                <a:lnTo>
                  <a:pt x="1140" y="1011"/>
                </a:lnTo>
                <a:lnTo>
                  <a:pt x="1147" y="1011"/>
                </a:lnTo>
                <a:lnTo>
                  <a:pt x="1147" y="1018"/>
                </a:lnTo>
                <a:lnTo>
                  <a:pt x="1140" y="1018"/>
                </a:lnTo>
                <a:lnTo>
                  <a:pt x="1140" y="1024"/>
                </a:lnTo>
                <a:lnTo>
                  <a:pt x="1140" y="1031"/>
                </a:lnTo>
                <a:lnTo>
                  <a:pt x="1140" y="1037"/>
                </a:lnTo>
                <a:lnTo>
                  <a:pt x="1140" y="1044"/>
                </a:lnTo>
                <a:lnTo>
                  <a:pt x="1140" y="1051"/>
                </a:lnTo>
                <a:lnTo>
                  <a:pt x="1134" y="1051"/>
                </a:lnTo>
                <a:lnTo>
                  <a:pt x="1134" y="1057"/>
                </a:lnTo>
                <a:lnTo>
                  <a:pt x="1134" y="1064"/>
                </a:lnTo>
                <a:lnTo>
                  <a:pt x="1134" y="1070"/>
                </a:lnTo>
                <a:lnTo>
                  <a:pt x="1134" y="1077"/>
                </a:lnTo>
                <a:lnTo>
                  <a:pt x="1127" y="1077"/>
                </a:lnTo>
                <a:lnTo>
                  <a:pt x="1127" y="1083"/>
                </a:lnTo>
                <a:lnTo>
                  <a:pt x="1127" y="1090"/>
                </a:lnTo>
                <a:lnTo>
                  <a:pt x="1127" y="1096"/>
                </a:lnTo>
                <a:lnTo>
                  <a:pt x="1121" y="1103"/>
                </a:lnTo>
                <a:lnTo>
                  <a:pt x="1121" y="1109"/>
                </a:lnTo>
                <a:lnTo>
                  <a:pt x="1121" y="1116"/>
                </a:lnTo>
                <a:lnTo>
                  <a:pt x="1121" y="1122"/>
                </a:lnTo>
                <a:lnTo>
                  <a:pt x="1114" y="1122"/>
                </a:lnTo>
                <a:lnTo>
                  <a:pt x="1114" y="1129"/>
                </a:lnTo>
                <a:lnTo>
                  <a:pt x="1114" y="1135"/>
                </a:lnTo>
                <a:lnTo>
                  <a:pt x="1114" y="1142"/>
                </a:lnTo>
                <a:lnTo>
                  <a:pt x="1114" y="1148"/>
                </a:lnTo>
                <a:lnTo>
                  <a:pt x="1108" y="1148"/>
                </a:lnTo>
                <a:lnTo>
                  <a:pt x="1108" y="1155"/>
                </a:lnTo>
                <a:lnTo>
                  <a:pt x="1108" y="1161"/>
                </a:lnTo>
                <a:lnTo>
                  <a:pt x="1108" y="1168"/>
                </a:lnTo>
                <a:lnTo>
                  <a:pt x="1101" y="1174"/>
                </a:lnTo>
                <a:lnTo>
                  <a:pt x="1101" y="1181"/>
                </a:lnTo>
                <a:lnTo>
                  <a:pt x="1095" y="1181"/>
                </a:lnTo>
                <a:lnTo>
                  <a:pt x="1088" y="1181"/>
                </a:lnTo>
                <a:lnTo>
                  <a:pt x="1088" y="1188"/>
                </a:lnTo>
                <a:lnTo>
                  <a:pt x="1082" y="1188"/>
                </a:lnTo>
                <a:lnTo>
                  <a:pt x="1075" y="1188"/>
                </a:lnTo>
                <a:lnTo>
                  <a:pt x="1069" y="1188"/>
                </a:lnTo>
                <a:lnTo>
                  <a:pt x="1062" y="1188"/>
                </a:lnTo>
                <a:lnTo>
                  <a:pt x="1062" y="1181"/>
                </a:lnTo>
                <a:lnTo>
                  <a:pt x="1056" y="1181"/>
                </a:lnTo>
                <a:lnTo>
                  <a:pt x="1056" y="1174"/>
                </a:lnTo>
                <a:lnTo>
                  <a:pt x="1056" y="1168"/>
                </a:lnTo>
                <a:lnTo>
                  <a:pt x="1049" y="1168"/>
                </a:lnTo>
                <a:lnTo>
                  <a:pt x="1049" y="1161"/>
                </a:lnTo>
                <a:lnTo>
                  <a:pt x="1049" y="1155"/>
                </a:lnTo>
                <a:lnTo>
                  <a:pt x="1049" y="1148"/>
                </a:lnTo>
                <a:lnTo>
                  <a:pt x="1049" y="1142"/>
                </a:lnTo>
                <a:lnTo>
                  <a:pt x="1049" y="1135"/>
                </a:lnTo>
                <a:lnTo>
                  <a:pt x="1043" y="1135"/>
                </a:lnTo>
                <a:lnTo>
                  <a:pt x="1043" y="1129"/>
                </a:lnTo>
                <a:lnTo>
                  <a:pt x="1043" y="1122"/>
                </a:lnTo>
                <a:lnTo>
                  <a:pt x="1043" y="1116"/>
                </a:lnTo>
                <a:lnTo>
                  <a:pt x="1049" y="1116"/>
                </a:lnTo>
                <a:lnTo>
                  <a:pt x="1049" y="1109"/>
                </a:lnTo>
                <a:lnTo>
                  <a:pt x="1056" y="1109"/>
                </a:lnTo>
                <a:lnTo>
                  <a:pt x="1056" y="1103"/>
                </a:lnTo>
                <a:lnTo>
                  <a:pt x="1056" y="1096"/>
                </a:lnTo>
                <a:lnTo>
                  <a:pt x="1056" y="1090"/>
                </a:lnTo>
                <a:lnTo>
                  <a:pt x="1062" y="1090"/>
                </a:lnTo>
                <a:lnTo>
                  <a:pt x="1062" y="1083"/>
                </a:lnTo>
                <a:lnTo>
                  <a:pt x="1062" y="1077"/>
                </a:lnTo>
                <a:lnTo>
                  <a:pt x="1062" y="1070"/>
                </a:lnTo>
                <a:lnTo>
                  <a:pt x="1062" y="1064"/>
                </a:lnTo>
                <a:lnTo>
                  <a:pt x="1062" y="1057"/>
                </a:lnTo>
                <a:lnTo>
                  <a:pt x="1056" y="1057"/>
                </a:lnTo>
                <a:lnTo>
                  <a:pt x="1056" y="1051"/>
                </a:lnTo>
                <a:lnTo>
                  <a:pt x="1056" y="1044"/>
                </a:lnTo>
                <a:lnTo>
                  <a:pt x="1056" y="1037"/>
                </a:lnTo>
                <a:lnTo>
                  <a:pt x="1056" y="1031"/>
                </a:lnTo>
                <a:lnTo>
                  <a:pt x="1062" y="1024"/>
                </a:lnTo>
                <a:lnTo>
                  <a:pt x="1062" y="1018"/>
                </a:lnTo>
                <a:lnTo>
                  <a:pt x="1062" y="1011"/>
                </a:lnTo>
                <a:lnTo>
                  <a:pt x="1069" y="1011"/>
                </a:lnTo>
                <a:lnTo>
                  <a:pt x="1075" y="1011"/>
                </a:lnTo>
                <a:lnTo>
                  <a:pt x="1075" y="1005"/>
                </a:lnTo>
                <a:lnTo>
                  <a:pt x="1075" y="1011"/>
                </a:lnTo>
                <a:lnTo>
                  <a:pt x="1075" y="1005"/>
                </a:lnTo>
                <a:lnTo>
                  <a:pt x="1082" y="1005"/>
                </a:lnTo>
                <a:lnTo>
                  <a:pt x="1082" y="1011"/>
                </a:lnTo>
                <a:lnTo>
                  <a:pt x="1082" y="1005"/>
                </a:lnTo>
                <a:lnTo>
                  <a:pt x="1088" y="1005"/>
                </a:lnTo>
                <a:lnTo>
                  <a:pt x="1088" y="1011"/>
                </a:lnTo>
                <a:lnTo>
                  <a:pt x="1095" y="1005"/>
                </a:lnTo>
                <a:lnTo>
                  <a:pt x="1088" y="1005"/>
                </a:lnTo>
                <a:lnTo>
                  <a:pt x="1088" y="998"/>
                </a:lnTo>
                <a:lnTo>
                  <a:pt x="1095" y="998"/>
                </a:lnTo>
                <a:lnTo>
                  <a:pt x="1101" y="992"/>
                </a:lnTo>
                <a:lnTo>
                  <a:pt x="1101" y="998"/>
                </a:lnTo>
                <a:lnTo>
                  <a:pt x="1108" y="998"/>
                </a:lnTo>
                <a:lnTo>
                  <a:pt x="1101" y="998"/>
                </a:lnTo>
                <a:lnTo>
                  <a:pt x="1101" y="992"/>
                </a:lnTo>
                <a:lnTo>
                  <a:pt x="1108" y="985"/>
                </a:lnTo>
                <a:lnTo>
                  <a:pt x="1108" y="992"/>
                </a:lnTo>
                <a:lnTo>
                  <a:pt x="1108" y="985"/>
                </a:lnTo>
                <a:lnTo>
                  <a:pt x="1114" y="985"/>
                </a:lnTo>
                <a:lnTo>
                  <a:pt x="1114" y="979"/>
                </a:lnTo>
                <a:lnTo>
                  <a:pt x="1114" y="985"/>
                </a:lnTo>
                <a:lnTo>
                  <a:pt x="1114" y="979"/>
                </a:lnTo>
                <a:lnTo>
                  <a:pt x="1114" y="972"/>
                </a:lnTo>
                <a:lnTo>
                  <a:pt x="1114" y="979"/>
                </a:lnTo>
                <a:lnTo>
                  <a:pt x="1114" y="972"/>
                </a:lnTo>
                <a:lnTo>
                  <a:pt x="1114" y="966"/>
                </a:lnTo>
                <a:lnTo>
                  <a:pt x="1114" y="959"/>
                </a:lnTo>
                <a:lnTo>
                  <a:pt x="1121" y="966"/>
                </a:lnTo>
                <a:lnTo>
                  <a:pt x="1121" y="959"/>
                </a:lnTo>
                <a:lnTo>
                  <a:pt x="1127" y="959"/>
                </a:lnTo>
                <a:lnTo>
                  <a:pt x="1127" y="953"/>
                </a:lnTo>
                <a:lnTo>
                  <a:pt x="1134" y="953"/>
                </a:lnTo>
                <a:lnTo>
                  <a:pt x="1134" y="946"/>
                </a:lnTo>
                <a:lnTo>
                  <a:pt x="1127" y="946"/>
                </a:lnTo>
                <a:lnTo>
                  <a:pt x="1127" y="940"/>
                </a:lnTo>
                <a:lnTo>
                  <a:pt x="1127" y="946"/>
                </a:lnTo>
                <a:lnTo>
                  <a:pt x="1134" y="946"/>
                </a:lnTo>
                <a:lnTo>
                  <a:pt x="1134" y="940"/>
                </a:lnTo>
                <a:lnTo>
                  <a:pt x="1134" y="933"/>
                </a:lnTo>
                <a:close/>
                <a:moveTo>
                  <a:pt x="1049" y="933"/>
                </a:moveTo>
                <a:lnTo>
                  <a:pt x="1043" y="933"/>
                </a:lnTo>
                <a:lnTo>
                  <a:pt x="1043" y="927"/>
                </a:lnTo>
                <a:lnTo>
                  <a:pt x="1043" y="920"/>
                </a:lnTo>
                <a:lnTo>
                  <a:pt x="1049" y="920"/>
                </a:lnTo>
                <a:lnTo>
                  <a:pt x="1049" y="927"/>
                </a:lnTo>
                <a:lnTo>
                  <a:pt x="1049" y="933"/>
                </a:lnTo>
                <a:close/>
                <a:moveTo>
                  <a:pt x="1095" y="887"/>
                </a:moveTo>
                <a:lnTo>
                  <a:pt x="1088" y="887"/>
                </a:lnTo>
                <a:lnTo>
                  <a:pt x="1095" y="887"/>
                </a:lnTo>
                <a:close/>
                <a:moveTo>
                  <a:pt x="990" y="861"/>
                </a:moveTo>
                <a:lnTo>
                  <a:pt x="990" y="855"/>
                </a:lnTo>
                <a:lnTo>
                  <a:pt x="990" y="861"/>
                </a:lnTo>
                <a:close/>
                <a:moveTo>
                  <a:pt x="984" y="829"/>
                </a:moveTo>
                <a:lnTo>
                  <a:pt x="990" y="829"/>
                </a:lnTo>
                <a:lnTo>
                  <a:pt x="984" y="829"/>
                </a:lnTo>
                <a:lnTo>
                  <a:pt x="990" y="829"/>
                </a:lnTo>
                <a:lnTo>
                  <a:pt x="984" y="829"/>
                </a:lnTo>
                <a:lnTo>
                  <a:pt x="984" y="822"/>
                </a:lnTo>
                <a:lnTo>
                  <a:pt x="984" y="816"/>
                </a:lnTo>
                <a:lnTo>
                  <a:pt x="984" y="822"/>
                </a:lnTo>
                <a:lnTo>
                  <a:pt x="984" y="829"/>
                </a:lnTo>
                <a:close/>
                <a:moveTo>
                  <a:pt x="990" y="809"/>
                </a:moveTo>
                <a:lnTo>
                  <a:pt x="990" y="816"/>
                </a:lnTo>
                <a:lnTo>
                  <a:pt x="990" y="809"/>
                </a:lnTo>
                <a:lnTo>
                  <a:pt x="990" y="803"/>
                </a:lnTo>
                <a:lnTo>
                  <a:pt x="990" y="809"/>
                </a:lnTo>
                <a:close/>
                <a:moveTo>
                  <a:pt x="1232" y="803"/>
                </a:moveTo>
                <a:lnTo>
                  <a:pt x="1225" y="796"/>
                </a:lnTo>
                <a:lnTo>
                  <a:pt x="1232" y="796"/>
                </a:lnTo>
                <a:lnTo>
                  <a:pt x="1232" y="803"/>
                </a:lnTo>
                <a:close/>
                <a:moveTo>
                  <a:pt x="521" y="724"/>
                </a:moveTo>
                <a:lnTo>
                  <a:pt x="528" y="724"/>
                </a:lnTo>
                <a:lnTo>
                  <a:pt x="521" y="724"/>
                </a:lnTo>
                <a:close/>
                <a:moveTo>
                  <a:pt x="488" y="711"/>
                </a:moveTo>
                <a:lnTo>
                  <a:pt x="488" y="705"/>
                </a:lnTo>
                <a:lnTo>
                  <a:pt x="488" y="711"/>
                </a:lnTo>
                <a:close/>
                <a:moveTo>
                  <a:pt x="502" y="685"/>
                </a:moveTo>
                <a:lnTo>
                  <a:pt x="502" y="679"/>
                </a:lnTo>
                <a:lnTo>
                  <a:pt x="502" y="685"/>
                </a:lnTo>
                <a:close/>
                <a:moveTo>
                  <a:pt x="521" y="646"/>
                </a:moveTo>
                <a:lnTo>
                  <a:pt x="521" y="653"/>
                </a:lnTo>
                <a:lnTo>
                  <a:pt x="515" y="653"/>
                </a:lnTo>
                <a:lnTo>
                  <a:pt x="515" y="646"/>
                </a:lnTo>
                <a:lnTo>
                  <a:pt x="521" y="646"/>
                </a:lnTo>
                <a:close/>
                <a:moveTo>
                  <a:pt x="195" y="574"/>
                </a:moveTo>
                <a:lnTo>
                  <a:pt x="189" y="574"/>
                </a:lnTo>
                <a:lnTo>
                  <a:pt x="195" y="574"/>
                </a:lnTo>
                <a:close/>
                <a:moveTo>
                  <a:pt x="150" y="509"/>
                </a:moveTo>
                <a:lnTo>
                  <a:pt x="150" y="503"/>
                </a:lnTo>
                <a:lnTo>
                  <a:pt x="150" y="509"/>
                </a:lnTo>
                <a:close/>
                <a:moveTo>
                  <a:pt x="143" y="503"/>
                </a:moveTo>
                <a:lnTo>
                  <a:pt x="136" y="503"/>
                </a:lnTo>
                <a:lnTo>
                  <a:pt x="143" y="503"/>
                </a:lnTo>
                <a:close/>
                <a:moveTo>
                  <a:pt x="150" y="503"/>
                </a:moveTo>
                <a:lnTo>
                  <a:pt x="150" y="496"/>
                </a:lnTo>
                <a:lnTo>
                  <a:pt x="150" y="503"/>
                </a:lnTo>
                <a:close/>
                <a:moveTo>
                  <a:pt x="19" y="437"/>
                </a:moveTo>
                <a:lnTo>
                  <a:pt x="13" y="437"/>
                </a:lnTo>
                <a:lnTo>
                  <a:pt x="19" y="437"/>
                </a:lnTo>
                <a:close/>
                <a:moveTo>
                  <a:pt x="32" y="437"/>
                </a:moveTo>
                <a:lnTo>
                  <a:pt x="26" y="437"/>
                </a:lnTo>
                <a:lnTo>
                  <a:pt x="26" y="431"/>
                </a:lnTo>
                <a:lnTo>
                  <a:pt x="32" y="431"/>
                </a:lnTo>
                <a:lnTo>
                  <a:pt x="32" y="437"/>
                </a:lnTo>
                <a:close/>
                <a:moveTo>
                  <a:pt x="39" y="431"/>
                </a:moveTo>
                <a:lnTo>
                  <a:pt x="32" y="431"/>
                </a:lnTo>
                <a:lnTo>
                  <a:pt x="39" y="431"/>
                </a:lnTo>
                <a:close/>
                <a:moveTo>
                  <a:pt x="997" y="424"/>
                </a:moveTo>
                <a:lnTo>
                  <a:pt x="1003" y="424"/>
                </a:lnTo>
                <a:lnTo>
                  <a:pt x="997" y="424"/>
                </a:lnTo>
                <a:lnTo>
                  <a:pt x="990" y="424"/>
                </a:lnTo>
                <a:lnTo>
                  <a:pt x="997" y="418"/>
                </a:lnTo>
                <a:lnTo>
                  <a:pt x="997" y="424"/>
                </a:lnTo>
                <a:close/>
                <a:moveTo>
                  <a:pt x="45" y="418"/>
                </a:moveTo>
                <a:lnTo>
                  <a:pt x="39" y="418"/>
                </a:lnTo>
                <a:lnTo>
                  <a:pt x="39" y="411"/>
                </a:lnTo>
                <a:lnTo>
                  <a:pt x="45" y="418"/>
                </a:lnTo>
                <a:close/>
                <a:moveTo>
                  <a:pt x="19" y="405"/>
                </a:moveTo>
                <a:lnTo>
                  <a:pt x="19" y="411"/>
                </a:lnTo>
                <a:lnTo>
                  <a:pt x="19" y="405"/>
                </a:lnTo>
                <a:lnTo>
                  <a:pt x="13" y="405"/>
                </a:lnTo>
                <a:lnTo>
                  <a:pt x="19" y="405"/>
                </a:lnTo>
                <a:close/>
                <a:moveTo>
                  <a:pt x="6" y="405"/>
                </a:moveTo>
                <a:lnTo>
                  <a:pt x="6" y="398"/>
                </a:lnTo>
                <a:lnTo>
                  <a:pt x="6" y="405"/>
                </a:lnTo>
                <a:close/>
                <a:moveTo>
                  <a:pt x="6" y="398"/>
                </a:moveTo>
                <a:lnTo>
                  <a:pt x="0" y="398"/>
                </a:lnTo>
                <a:lnTo>
                  <a:pt x="6" y="398"/>
                </a:lnTo>
                <a:close/>
                <a:moveTo>
                  <a:pt x="136" y="353"/>
                </a:moveTo>
                <a:lnTo>
                  <a:pt x="136" y="346"/>
                </a:lnTo>
                <a:lnTo>
                  <a:pt x="136" y="353"/>
                </a:lnTo>
                <a:close/>
                <a:moveTo>
                  <a:pt x="554" y="72"/>
                </a:moveTo>
                <a:lnTo>
                  <a:pt x="554" y="79"/>
                </a:lnTo>
                <a:lnTo>
                  <a:pt x="547" y="79"/>
                </a:lnTo>
                <a:lnTo>
                  <a:pt x="547" y="72"/>
                </a:lnTo>
                <a:lnTo>
                  <a:pt x="554" y="72"/>
                </a:lnTo>
                <a:close/>
                <a:moveTo>
                  <a:pt x="554" y="59"/>
                </a:moveTo>
                <a:lnTo>
                  <a:pt x="560" y="53"/>
                </a:lnTo>
                <a:lnTo>
                  <a:pt x="560" y="59"/>
                </a:lnTo>
                <a:lnTo>
                  <a:pt x="554" y="59"/>
                </a:lnTo>
                <a:close/>
                <a:moveTo>
                  <a:pt x="534" y="7"/>
                </a:moveTo>
                <a:lnTo>
                  <a:pt x="541" y="7"/>
                </a:lnTo>
                <a:lnTo>
                  <a:pt x="534" y="7"/>
                </a:lnTo>
                <a:lnTo>
                  <a:pt x="541" y="7"/>
                </a:lnTo>
                <a:lnTo>
                  <a:pt x="547" y="13"/>
                </a:lnTo>
                <a:lnTo>
                  <a:pt x="541" y="13"/>
                </a:lnTo>
                <a:lnTo>
                  <a:pt x="547" y="13"/>
                </a:lnTo>
                <a:lnTo>
                  <a:pt x="554" y="13"/>
                </a:lnTo>
                <a:lnTo>
                  <a:pt x="554" y="7"/>
                </a:lnTo>
                <a:lnTo>
                  <a:pt x="554" y="13"/>
                </a:lnTo>
                <a:lnTo>
                  <a:pt x="554" y="20"/>
                </a:lnTo>
                <a:lnTo>
                  <a:pt x="547" y="20"/>
                </a:lnTo>
                <a:lnTo>
                  <a:pt x="547" y="26"/>
                </a:lnTo>
                <a:lnTo>
                  <a:pt x="547" y="33"/>
                </a:lnTo>
                <a:lnTo>
                  <a:pt x="554" y="33"/>
                </a:lnTo>
                <a:lnTo>
                  <a:pt x="554" y="40"/>
                </a:lnTo>
                <a:lnTo>
                  <a:pt x="554" y="46"/>
                </a:lnTo>
                <a:lnTo>
                  <a:pt x="554" y="53"/>
                </a:lnTo>
                <a:lnTo>
                  <a:pt x="547" y="59"/>
                </a:lnTo>
                <a:lnTo>
                  <a:pt x="541" y="66"/>
                </a:lnTo>
                <a:lnTo>
                  <a:pt x="541" y="72"/>
                </a:lnTo>
                <a:lnTo>
                  <a:pt x="541" y="79"/>
                </a:lnTo>
                <a:lnTo>
                  <a:pt x="547" y="79"/>
                </a:lnTo>
                <a:lnTo>
                  <a:pt x="554" y="79"/>
                </a:lnTo>
                <a:lnTo>
                  <a:pt x="554" y="85"/>
                </a:lnTo>
                <a:lnTo>
                  <a:pt x="560" y="85"/>
                </a:lnTo>
                <a:lnTo>
                  <a:pt x="567" y="85"/>
                </a:lnTo>
                <a:lnTo>
                  <a:pt x="567" y="92"/>
                </a:lnTo>
                <a:lnTo>
                  <a:pt x="573" y="92"/>
                </a:lnTo>
                <a:lnTo>
                  <a:pt x="580" y="92"/>
                </a:lnTo>
                <a:lnTo>
                  <a:pt x="586" y="92"/>
                </a:lnTo>
                <a:lnTo>
                  <a:pt x="593" y="92"/>
                </a:lnTo>
                <a:lnTo>
                  <a:pt x="599" y="92"/>
                </a:lnTo>
                <a:lnTo>
                  <a:pt x="599" y="98"/>
                </a:lnTo>
                <a:lnTo>
                  <a:pt x="606" y="98"/>
                </a:lnTo>
                <a:lnTo>
                  <a:pt x="612" y="98"/>
                </a:lnTo>
                <a:lnTo>
                  <a:pt x="619" y="105"/>
                </a:lnTo>
                <a:lnTo>
                  <a:pt x="619" y="111"/>
                </a:lnTo>
                <a:lnTo>
                  <a:pt x="625" y="118"/>
                </a:lnTo>
                <a:lnTo>
                  <a:pt x="625" y="124"/>
                </a:lnTo>
                <a:lnTo>
                  <a:pt x="632" y="124"/>
                </a:lnTo>
                <a:lnTo>
                  <a:pt x="638" y="124"/>
                </a:lnTo>
                <a:lnTo>
                  <a:pt x="645" y="124"/>
                </a:lnTo>
                <a:lnTo>
                  <a:pt x="651" y="131"/>
                </a:lnTo>
                <a:lnTo>
                  <a:pt x="658" y="131"/>
                </a:lnTo>
                <a:lnTo>
                  <a:pt x="665" y="131"/>
                </a:lnTo>
                <a:lnTo>
                  <a:pt x="665" y="137"/>
                </a:lnTo>
                <a:lnTo>
                  <a:pt x="671" y="137"/>
                </a:lnTo>
                <a:lnTo>
                  <a:pt x="671" y="144"/>
                </a:lnTo>
                <a:lnTo>
                  <a:pt x="678" y="144"/>
                </a:lnTo>
                <a:lnTo>
                  <a:pt x="684" y="144"/>
                </a:lnTo>
                <a:lnTo>
                  <a:pt x="684" y="137"/>
                </a:lnTo>
                <a:lnTo>
                  <a:pt x="691" y="137"/>
                </a:lnTo>
                <a:lnTo>
                  <a:pt x="691" y="131"/>
                </a:lnTo>
                <a:lnTo>
                  <a:pt x="691" y="124"/>
                </a:lnTo>
                <a:lnTo>
                  <a:pt x="691" y="118"/>
                </a:lnTo>
                <a:lnTo>
                  <a:pt x="691" y="111"/>
                </a:lnTo>
                <a:lnTo>
                  <a:pt x="691" y="105"/>
                </a:lnTo>
                <a:lnTo>
                  <a:pt x="697" y="105"/>
                </a:lnTo>
                <a:lnTo>
                  <a:pt x="697" y="98"/>
                </a:lnTo>
                <a:lnTo>
                  <a:pt x="704" y="98"/>
                </a:lnTo>
                <a:lnTo>
                  <a:pt x="710" y="92"/>
                </a:lnTo>
                <a:lnTo>
                  <a:pt x="717" y="92"/>
                </a:lnTo>
                <a:lnTo>
                  <a:pt x="723" y="92"/>
                </a:lnTo>
                <a:lnTo>
                  <a:pt x="730" y="92"/>
                </a:lnTo>
                <a:lnTo>
                  <a:pt x="736" y="98"/>
                </a:lnTo>
                <a:lnTo>
                  <a:pt x="736" y="105"/>
                </a:lnTo>
                <a:lnTo>
                  <a:pt x="743" y="105"/>
                </a:lnTo>
                <a:lnTo>
                  <a:pt x="749" y="105"/>
                </a:lnTo>
                <a:lnTo>
                  <a:pt x="749" y="111"/>
                </a:lnTo>
                <a:lnTo>
                  <a:pt x="756" y="111"/>
                </a:lnTo>
                <a:lnTo>
                  <a:pt x="762" y="111"/>
                </a:lnTo>
                <a:lnTo>
                  <a:pt x="769" y="111"/>
                </a:lnTo>
                <a:lnTo>
                  <a:pt x="769" y="118"/>
                </a:lnTo>
                <a:lnTo>
                  <a:pt x="775" y="118"/>
                </a:lnTo>
                <a:lnTo>
                  <a:pt x="782" y="118"/>
                </a:lnTo>
                <a:lnTo>
                  <a:pt x="788" y="118"/>
                </a:lnTo>
                <a:lnTo>
                  <a:pt x="795" y="118"/>
                </a:lnTo>
                <a:lnTo>
                  <a:pt x="795" y="124"/>
                </a:lnTo>
                <a:lnTo>
                  <a:pt x="801" y="124"/>
                </a:lnTo>
                <a:lnTo>
                  <a:pt x="808" y="124"/>
                </a:lnTo>
                <a:lnTo>
                  <a:pt x="808" y="131"/>
                </a:lnTo>
                <a:lnTo>
                  <a:pt x="814" y="131"/>
                </a:lnTo>
                <a:lnTo>
                  <a:pt x="821" y="131"/>
                </a:lnTo>
                <a:lnTo>
                  <a:pt x="827" y="131"/>
                </a:lnTo>
                <a:lnTo>
                  <a:pt x="834" y="131"/>
                </a:lnTo>
                <a:lnTo>
                  <a:pt x="841" y="131"/>
                </a:lnTo>
                <a:lnTo>
                  <a:pt x="841" y="124"/>
                </a:lnTo>
                <a:lnTo>
                  <a:pt x="847" y="124"/>
                </a:lnTo>
                <a:lnTo>
                  <a:pt x="847" y="118"/>
                </a:lnTo>
                <a:lnTo>
                  <a:pt x="854" y="118"/>
                </a:lnTo>
                <a:lnTo>
                  <a:pt x="860" y="118"/>
                </a:lnTo>
                <a:lnTo>
                  <a:pt x="854" y="118"/>
                </a:lnTo>
                <a:lnTo>
                  <a:pt x="854" y="124"/>
                </a:lnTo>
                <a:lnTo>
                  <a:pt x="860" y="124"/>
                </a:lnTo>
                <a:lnTo>
                  <a:pt x="860" y="118"/>
                </a:lnTo>
                <a:lnTo>
                  <a:pt x="867" y="118"/>
                </a:lnTo>
                <a:lnTo>
                  <a:pt x="867" y="124"/>
                </a:lnTo>
                <a:lnTo>
                  <a:pt x="867" y="118"/>
                </a:lnTo>
                <a:lnTo>
                  <a:pt x="873" y="118"/>
                </a:lnTo>
                <a:lnTo>
                  <a:pt x="873" y="124"/>
                </a:lnTo>
                <a:lnTo>
                  <a:pt x="873" y="118"/>
                </a:lnTo>
                <a:lnTo>
                  <a:pt x="867" y="124"/>
                </a:lnTo>
                <a:lnTo>
                  <a:pt x="873" y="124"/>
                </a:lnTo>
                <a:lnTo>
                  <a:pt x="873" y="131"/>
                </a:lnTo>
                <a:lnTo>
                  <a:pt x="873" y="124"/>
                </a:lnTo>
                <a:lnTo>
                  <a:pt x="880" y="131"/>
                </a:lnTo>
                <a:lnTo>
                  <a:pt x="880" y="124"/>
                </a:lnTo>
                <a:lnTo>
                  <a:pt x="880" y="131"/>
                </a:lnTo>
                <a:lnTo>
                  <a:pt x="886" y="131"/>
                </a:lnTo>
                <a:lnTo>
                  <a:pt x="886" y="124"/>
                </a:lnTo>
                <a:lnTo>
                  <a:pt x="893" y="124"/>
                </a:lnTo>
                <a:lnTo>
                  <a:pt x="893" y="131"/>
                </a:lnTo>
                <a:lnTo>
                  <a:pt x="893" y="124"/>
                </a:lnTo>
                <a:lnTo>
                  <a:pt x="899" y="131"/>
                </a:lnTo>
                <a:lnTo>
                  <a:pt x="899" y="124"/>
                </a:lnTo>
                <a:lnTo>
                  <a:pt x="906" y="124"/>
                </a:lnTo>
                <a:lnTo>
                  <a:pt x="912" y="131"/>
                </a:lnTo>
                <a:lnTo>
                  <a:pt x="912" y="137"/>
                </a:lnTo>
                <a:lnTo>
                  <a:pt x="912" y="144"/>
                </a:lnTo>
                <a:lnTo>
                  <a:pt x="912" y="150"/>
                </a:lnTo>
                <a:lnTo>
                  <a:pt x="919" y="157"/>
                </a:lnTo>
                <a:lnTo>
                  <a:pt x="912" y="163"/>
                </a:lnTo>
                <a:lnTo>
                  <a:pt x="912" y="170"/>
                </a:lnTo>
                <a:lnTo>
                  <a:pt x="912" y="177"/>
                </a:lnTo>
                <a:lnTo>
                  <a:pt x="912" y="183"/>
                </a:lnTo>
                <a:lnTo>
                  <a:pt x="912" y="190"/>
                </a:lnTo>
                <a:lnTo>
                  <a:pt x="906" y="190"/>
                </a:lnTo>
                <a:lnTo>
                  <a:pt x="906" y="196"/>
                </a:lnTo>
                <a:lnTo>
                  <a:pt x="906" y="190"/>
                </a:lnTo>
                <a:lnTo>
                  <a:pt x="899" y="190"/>
                </a:lnTo>
                <a:lnTo>
                  <a:pt x="899" y="183"/>
                </a:lnTo>
                <a:lnTo>
                  <a:pt x="893" y="183"/>
                </a:lnTo>
                <a:lnTo>
                  <a:pt x="893" y="177"/>
                </a:lnTo>
                <a:lnTo>
                  <a:pt x="893" y="170"/>
                </a:lnTo>
                <a:lnTo>
                  <a:pt x="886" y="163"/>
                </a:lnTo>
                <a:lnTo>
                  <a:pt x="886" y="157"/>
                </a:lnTo>
                <a:lnTo>
                  <a:pt x="880" y="150"/>
                </a:lnTo>
                <a:lnTo>
                  <a:pt x="880" y="157"/>
                </a:lnTo>
                <a:lnTo>
                  <a:pt x="880" y="163"/>
                </a:lnTo>
                <a:lnTo>
                  <a:pt x="886" y="163"/>
                </a:lnTo>
                <a:lnTo>
                  <a:pt x="886" y="170"/>
                </a:lnTo>
                <a:lnTo>
                  <a:pt x="880" y="170"/>
                </a:lnTo>
                <a:lnTo>
                  <a:pt x="886" y="170"/>
                </a:lnTo>
                <a:lnTo>
                  <a:pt x="886" y="177"/>
                </a:lnTo>
                <a:lnTo>
                  <a:pt x="886" y="183"/>
                </a:lnTo>
                <a:lnTo>
                  <a:pt x="893" y="183"/>
                </a:lnTo>
                <a:lnTo>
                  <a:pt x="893" y="190"/>
                </a:lnTo>
                <a:lnTo>
                  <a:pt x="899" y="190"/>
                </a:lnTo>
                <a:lnTo>
                  <a:pt x="899" y="196"/>
                </a:lnTo>
                <a:lnTo>
                  <a:pt x="899" y="190"/>
                </a:lnTo>
                <a:lnTo>
                  <a:pt x="893" y="190"/>
                </a:lnTo>
                <a:lnTo>
                  <a:pt x="893" y="196"/>
                </a:lnTo>
                <a:lnTo>
                  <a:pt x="899" y="196"/>
                </a:lnTo>
                <a:lnTo>
                  <a:pt x="899" y="203"/>
                </a:lnTo>
                <a:lnTo>
                  <a:pt x="899" y="209"/>
                </a:lnTo>
                <a:lnTo>
                  <a:pt x="906" y="209"/>
                </a:lnTo>
                <a:lnTo>
                  <a:pt x="906" y="216"/>
                </a:lnTo>
                <a:lnTo>
                  <a:pt x="906" y="222"/>
                </a:lnTo>
                <a:lnTo>
                  <a:pt x="906" y="229"/>
                </a:lnTo>
                <a:lnTo>
                  <a:pt x="912" y="229"/>
                </a:lnTo>
                <a:lnTo>
                  <a:pt x="912" y="235"/>
                </a:lnTo>
                <a:lnTo>
                  <a:pt x="912" y="242"/>
                </a:lnTo>
                <a:lnTo>
                  <a:pt x="919" y="242"/>
                </a:lnTo>
                <a:lnTo>
                  <a:pt x="919" y="248"/>
                </a:lnTo>
                <a:lnTo>
                  <a:pt x="919" y="255"/>
                </a:lnTo>
                <a:lnTo>
                  <a:pt x="925" y="261"/>
                </a:lnTo>
                <a:lnTo>
                  <a:pt x="925" y="268"/>
                </a:lnTo>
                <a:lnTo>
                  <a:pt x="932" y="268"/>
                </a:lnTo>
                <a:lnTo>
                  <a:pt x="925" y="268"/>
                </a:lnTo>
                <a:lnTo>
                  <a:pt x="925" y="274"/>
                </a:lnTo>
                <a:lnTo>
                  <a:pt x="925" y="281"/>
                </a:lnTo>
                <a:lnTo>
                  <a:pt x="932" y="287"/>
                </a:lnTo>
                <a:lnTo>
                  <a:pt x="932" y="294"/>
                </a:lnTo>
                <a:lnTo>
                  <a:pt x="938" y="294"/>
                </a:lnTo>
                <a:lnTo>
                  <a:pt x="938" y="300"/>
                </a:lnTo>
                <a:lnTo>
                  <a:pt x="945" y="300"/>
                </a:lnTo>
                <a:lnTo>
                  <a:pt x="945" y="307"/>
                </a:lnTo>
                <a:lnTo>
                  <a:pt x="945" y="313"/>
                </a:lnTo>
                <a:lnTo>
                  <a:pt x="951" y="313"/>
                </a:lnTo>
                <a:lnTo>
                  <a:pt x="951" y="320"/>
                </a:lnTo>
                <a:lnTo>
                  <a:pt x="951" y="327"/>
                </a:lnTo>
                <a:lnTo>
                  <a:pt x="951" y="320"/>
                </a:lnTo>
                <a:lnTo>
                  <a:pt x="951" y="327"/>
                </a:lnTo>
                <a:lnTo>
                  <a:pt x="951" y="333"/>
                </a:lnTo>
                <a:lnTo>
                  <a:pt x="951" y="340"/>
                </a:lnTo>
                <a:lnTo>
                  <a:pt x="951" y="346"/>
                </a:lnTo>
                <a:lnTo>
                  <a:pt x="951" y="353"/>
                </a:lnTo>
                <a:lnTo>
                  <a:pt x="951" y="359"/>
                </a:lnTo>
                <a:lnTo>
                  <a:pt x="958" y="366"/>
                </a:lnTo>
                <a:lnTo>
                  <a:pt x="964" y="366"/>
                </a:lnTo>
                <a:lnTo>
                  <a:pt x="964" y="372"/>
                </a:lnTo>
                <a:lnTo>
                  <a:pt x="964" y="379"/>
                </a:lnTo>
                <a:lnTo>
                  <a:pt x="971" y="379"/>
                </a:lnTo>
                <a:lnTo>
                  <a:pt x="977" y="385"/>
                </a:lnTo>
                <a:lnTo>
                  <a:pt x="977" y="392"/>
                </a:lnTo>
                <a:lnTo>
                  <a:pt x="977" y="398"/>
                </a:lnTo>
                <a:lnTo>
                  <a:pt x="984" y="398"/>
                </a:lnTo>
                <a:lnTo>
                  <a:pt x="984" y="405"/>
                </a:lnTo>
                <a:lnTo>
                  <a:pt x="984" y="411"/>
                </a:lnTo>
                <a:lnTo>
                  <a:pt x="984" y="418"/>
                </a:lnTo>
                <a:lnTo>
                  <a:pt x="984" y="424"/>
                </a:lnTo>
                <a:lnTo>
                  <a:pt x="990" y="424"/>
                </a:lnTo>
                <a:lnTo>
                  <a:pt x="990" y="431"/>
                </a:lnTo>
                <a:lnTo>
                  <a:pt x="990" y="437"/>
                </a:lnTo>
                <a:lnTo>
                  <a:pt x="990" y="431"/>
                </a:lnTo>
                <a:lnTo>
                  <a:pt x="990" y="424"/>
                </a:lnTo>
                <a:lnTo>
                  <a:pt x="997" y="431"/>
                </a:lnTo>
                <a:lnTo>
                  <a:pt x="997" y="437"/>
                </a:lnTo>
                <a:lnTo>
                  <a:pt x="1003" y="437"/>
                </a:lnTo>
                <a:lnTo>
                  <a:pt x="1010" y="444"/>
                </a:lnTo>
                <a:lnTo>
                  <a:pt x="1017" y="444"/>
                </a:lnTo>
                <a:lnTo>
                  <a:pt x="1017" y="450"/>
                </a:lnTo>
                <a:lnTo>
                  <a:pt x="1023" y="457"/>
                </a:lnTo>
                <a:lnTo>
                  <a:pt x="1023" y="464"/>
                </a:lnTo>
                <a:lnTo>
                  <a:pt x="1030" y="464"/>
                </a:lnTo>
                <a:lnTo>
                  <a:pt x="1030" y="470"/>
                </a:lnTo>
                <a:lnTo>
                  <a:pt x="1036" y="470"/>
                </a:lnTo>
                <a:lnTo>
                  <a:pt x="1036" y="477"/>
                </a:lnTo>
                <a:lnTo>
                  <a:pt x="1043" y="477"/>
                </a:lnTo>
                <a:lnTo>
                  <a:pt x="1043" y="483"/>
                </a:lnTo>
                <a:lnTo>
                  <a:pt x="1049" y="490"/>
                </a:lnTo>
                <a:lnTo>
                  <a:pt x="1043" y="490"/>
                </a:lnTo>
                <a:lnTo>
                  <a:pt x="1043" y="496"/>
                </a:lnTo>
                <a:lnTo>
                  <a:pt x="1036" y="496"/>
                </a:lnTo>
                <a:lnTo>
                  <a:pt x="1036" y="503"/>
                </a:lnTo>
                <a:lnTo>
                  <a:pt x="1043" y="503"/>
                </a:lnTo>
                <a:lnTo>
                  <a:pt x="1049" y="503"/>
                </a:lnTo>
                <a:lnTo>
                  <a:pt x="1049" y="509"/>
                </a:lnTo>
                <a:lnTo>
                  <a:pt x="1056" y="516"/>
                </a:lnTo>
                <a:lnTo>
                  <a:pt x="1056" y="522"/>
                </a:lnTo>
                <a:lnTo>
                  <a:pt x="1062" y="522"/>
                </a:lnTo>
                <a:lnTo>
                  <a:pt x="1069" y="522"/>
                </a:lnTo>
                <a:lnTo>
                  <a:pt x="1075" y="522"/>
                </a:lnTo>
                <a:lnTo>
                  <a:pt x="1075" y="516"/>
                </a:lnTo>
                <a:lnTo>
                  <a:pt x="1082" y="516"/>
                </a:lnTo>
                <a:lnTo>
                  <a:pt x="1088" y="516"/>
                </a:lnTo>
                <a:lnTo>
                  <a:pt x="1095" y="516"/>
                </a:lnTo>
                <a:lnTo>
                  <a:pt x="1101" y="509"/>
                </a:lnTo>
                <a:lnTo>
                  <a:pt x="1108" y="509"/>
                </a:lnTo>
                <a:lnTo>
                  <a:pt x="1114" y="509"/>
                </a:lnTo>
                <a:lnTo>
                  <a:pt x="1121" y="509"/>
                </a:lnTo>
                <a:lnTo>
                  <a:pt x="1121" y="503"/>
                </a:lnTo>
                <a:lnTo>
                  <a:pt x="1127" y="503"/>
                </a:lnTo>
                <a:lnTo>
                  <a:pt x="1127" y="509"/>
                </a:lnTo>
                <a:lnTo>
                  <a:pt x="1134" y="509"/>
                </a:lnTo>
                <a:lnTo>
                  <a:pt x="1134" y="503"/>
                </a:lnTo>
                <a:lnTo>
                  <a:pt x="1140" y="503"/>
                </a:lnTo>
                <a:lnTo>
                  <a:pt x="1147" y="503"/>
                </a:lnTo>
                <a:lnTo>
                  <a:pt x="1153" y="503"/>
                </a:lnTo>
                <a:lnTo>
                  <a:pt x="1153" y="496"/>
                </a:lnTo>
                <a:lnTo>
                  <a:pt x="1160" y="490"/>
                </a:lnTo>
                <a:lnTo>
                  <a:pt x="1160" y="496"/>
                </a:lnTo>
                <a:lnTo>
                  <a:pt x="1166" y="496"/>
                </a:lnTo>
                <a:lnTo>
                  <a:pt x="1166" y="503"/>
                </a:lnTo>
                <a:lnTo>
                  <a:pt x="1160" y="503"/>
                </a:lnTo>
                <a:lnTo>
                  <a:pt x="1160" y="509"/>
                </a:lnTo>
                <a:lnTo>
                  <a:pt x="1166" y="509"/>
                </a:lnTo>
                <a:lnTo>
                  <a:pt x="1166" y="516"/>
                </a:lnTo>
                <a:lnTo>
                  <a:pt x="1166" y="522"/>
                </a:lnTo>
                <a:lnTo>
                  <a:pt x="1160" y="522"/>
                </a:lnTo>
                <a:lnTo>
                  <a:pt x="1166" y="522"/>
                </a:lnTo>
                <a:lnTo>
                  <a:pt x="1160" y="522"/>
                </a:lnTo>
                <a:lnTo>
                  <a:pt x="1160" y="529"/>
                </a:lnTo>
                <a:lnTo>
                  <a:pt x="1160" y="535"/>
                </a:lnTo>
                <a:lnTo>
                  <a:pt x="1160" y="542"/>
                </a:lnTo>
                <a:lnTo>
                  <a:pt x="1153" y="542"/>
                </a:lnTo>
                <a:lnTo>
                  <a:pt x="1153" y="548"/>
                </a:lnTo>
                <a:lnTo>
                  <a:pt x="1153" y="555"/>
                </a:lnTo>
                <a:lnTo>
                  <a:pt x="1147" y="561"/>
                </a:lnTo>
                <a:lnTo>
                  <a:pt x="1147" y="568"/>
                </a:lnTo>
                <a:lnTo>
                  <a:pt x="1140" y="574"/>
                </a:lnTo>
                <a:lnTo>
                  <a:pt x="1140" y="581"/>
                </a:lnTo>
                <a:lnTo>
                  <a:pt x="1134" y="587"/>
                </a:lnTo>
                <a:lnTo>
                  <a:pt x="1134" y="594"/>
                </a:lnTo>
                <a:lnTo>
                  <a:pt x="1134" y="600"/>
                </a:lnTo>
                <a:lnTo>
                  <a:pt x="1127" y="607"/>
                </a:lnTo>
                <a:lnTo>
                  <a:pt x="1127" y="614"/>
                </a:lnTo>
                <a:lnTo>
                  <a:pt x="1121" y="620"/>
                </a:lnTo>
                <a:lnTo>
                  <a:pt x="1121" y="627"/>
                </a:lnTo>
                <a:lnTo>
                  <a:pt x="1114" y="627"/>
                </a:lnTo>
                <a:lnTo>
                  <a:pt x="1114" y="633"/>
                </a:lnTo>
                <a:lnTo>
                  <a:pt x="1114" y="640"/>
                </a:lnTo>
                <a:lnTo>
                  <a:pt x="1108" y="640"/>
                </a:lnTo>
                <a:lnTo>
                  <a:pt x="1108" y="646"/>
                </a:lnTo>
                <a:lnTo>
                  <a:pt x="1101" y="646"/>
                </a:lnTo>
                <a:lnTo>
                  <a:pt x="1101" y="653"/>
                </a:lnTo>
                <a:lnTo>
                  <a:pt x="1095" y="653"/>
                </a:lnTo>
                <a:lnTo>
                  <a:pt x="1095" y="659"/>
                </a:lnTo>
                <a:lnTo>
                  <a:pt x="1088" y="659"/>
                </a:lnTo>
                <a:lnTo>
                  <a:pt x="1088" y="666"/>
                </a:lnTo>
                <a:lnTo>
                  <a:pt x="1082" y="672"/>
                </a:lnTo>
                <a:lnTo>
                  <a:pt x="1075" y="679"/>
                </a:lnTo>
                <a:lnTo>
                  <a:pt x="1069" y="679"/>
                </a:lnTo>
                <a:lnTo>
                  <a:pt x="1062" y="685"/>
                </a:lnTo>
                <a:lnTo>
                  <a:pt x="1056" y="692"/>
                </a:lnTo>
                <a:lnTo>
                  <a:pt x="1056" y="698"/>
                </a:lnTo>
                <a:lnTo>
                  <a:pt x="1049" y="698"/>
                </a:lnTo>
                <a:lnTo>
                  <a:pt x="1049" y="705"/>
                </a:lnTo>
                <a:lnTo>
                  <a:pt x="1043" y="705"/>
                </a:lnTo>
                <a:lnTo>
                  <a:pt x="1043" y="711"/>
                </a:lnTo>
                <a:lnTo>
                  <a:pt x="1036" y="711"/>
                </a:lnTo>
                <a:lnTo>
                  <a:pt x="1036" y="718"/>
                </a:lnTo>
                <a:lnTo>
                  <a:pt x="1030" y="724"/>
                </a:lnTo>
                <a:lnTo>
                  <a:pt x="1030" y="731"/>
                </a:lnTo>
                <a:lnTo>
                  <a:pt x="1023" y="731"/>
                </a:lnTo>
                <a:lnTo>
                  <a:pt x="1023" y="737"/>
                </a:lnTo>
                <a:lnTo>
                  <a:pt x="1017" y="744"/>
                </a:lnTo>
                <a:lnTo>
                  <a:pt x="1017" y="750"/>
                </a:lnTo>
                <a:lnTo>
                  <a:pt x="1010" y="750"/>
                </a:lnTo>
                <a:lnTo>
                  <a:pt x="1010" y="757"/>
                </a:lnTo>
                <a:lnTo>
                  <a:pt x="1003" y="757"/>
                </a:lnTo>
                <a:lnTo>
                  <a:pt x="1010" y="757"/>
                </a:lnTo>
                <a:lnTo>
                  <a:pt x="1003" y="757"/>
                </a:lnTo>
                <a:lnTo>
                  <a:pt x="997" y="764"/>
                </a:lnTo>
                <a:lnTo>
                  <a:pt x="997" y="770"/>
                </a:lnTo>
                <a:lnTo>
                  <a:pt x="997" y="777"/>
                </a:lnTo>
                <a:lnTo>
                  <a:pt x="990" y="777"/>
                </a:lnTo>
                <a:lnTo>
                  <a:pt x="990" y="783"/>
                </a:lnTo>
                <a:lnTo>
                  <a:pt x="990" y="790"/>
                </a:lnTo>
                <a:lnTo>
                  <a:pt x="990" y="796"/>
                </a:lnTo>
                <a:lnTo>
                  <a:pt x="984" y="796"/>
                </a:lnTo>
                <a:lnTo>
                  <a:pt x="984" y="803"/>
                </a:lnTo>
                <a:lnTo>
                  <a:pt x="984" y="809"/>
                </a:lnTo>
                <a:lnTo>
                  <a:pt x="977" y="809"/>
                </a:lnTo>
                <a:lnTo>
                  <a:pt x="977" y="816"/>
                </a:lnTo>
                <a:lnTo>
                  <a:pt x="977" y="822"/>
                </a:lnTo>
                <a:lnTo>
                  <a:pt x="977" y="829"/>
                </a:lnTo>
                <a:lnTo>
                  <a:pt x="977" y="835"/>
                </a:lnTo>
                <a:lnTo>
                  <a:pt x="984" y="835"/>
                </a:lnTo>
                <a:lnTo>
                  <a:pt x="984" y="842"/>
                </a:lnTo>
                <a:lnTo>
                  <a:pt x="990" y="842"/>
                </a:lnTo>
                <a:lnTo>
                  <a:pt x="984" y="842"/>
                </a:lnTo>
                <a:lnTo>
                  <a:pt x="984" y="848"/>
                </a:lnTo>
                <a:lnTo>
                  <a:pt x="984" y="855"/>
                </a:lnTo>
                <a:lnTo>
                  <a:pt x="984" y="861"/>
                </a:lnTo>
                <a:lnTo>
                  <a:pt x="984" y="868"/>
                </a:lnTo>
                <a:lnTo>
                  <a:pt x="984" y="874"/>
                </a:lnTo>
                <a:lnTo>
                  <a:pt x="990" y="874"/>
                </a:lnTo>
                <a:lnTo>
                  <a:pt x="984" y="874"/>
                </a:lnTo>
                <a:lnTo>
                  <a:pt x="990" y="881"/>
                </a:lnTo>
                <a:lnTo>
                  <a:pt x="990" y="887"/>
                </a:lnTo>
                <a:lnTo>
                  <a:pt x="990" y="894"/>
                </a:lnTo>
                <a:lnTo>
                  <a:pt x="990" y="901"/>
                </a:lnTo>
                <a:lnTo>
                  <a:pt x="997" y="901"/>
                </a:lnTo>
                <a:lnTo>
                  <a:pt x="1003" y="907"/>
                </a:lnTo>
                <a:lnTo>
                  <a:pt x="1003" y="914"/>
                </a:lnTo>
                <a:lnTo>
                  <a:pt x="1003" y="920"/>
                </a:lnTo>
                <a:lnTo>
                  <a:pt x="1003" y="927"/>
                </a:lnTo>
                <a:lnTo>
                  <a:pt x="1003" y="933"/>
                </a:lnTo>
                <a:lnTo>
                  <a:pt x="1003" y="940"/>
                </a:lnTo>
                <a:lnTo>
                  <a:pt x="1003" y="946"/>
                </a:lnTo>
                <a:lnTo>
                  <a:pt x="1003" y="953"/>
                </a:lnTo>
                <a:lnTo>
                  <a:pt x="1003" y="959"/>
                </a:lnTo>
                <a:lnTo>
                  <a:pt x="1003" y="966"/>
                </a:lnTo>
                <a:lnTo>
                  <a:pt x="1003" y="972"/>
                </a:lnTo>
                <a:lnTo>
                  <a:pt x="1003" y="979"/>
                </a:lnTo>
                <a:lnTo>
                  <a:pt x="1003" y="972"/>
                </a:lnTo>
                <a:lnTo>
                  <a:pt x="1003" y="979"/>
                </a:lnTo>
                <a:lnTo>
                  <a:pt x="1010" y="979"/>
                </a:lnTo>
                <a:lnTo>
                  <a:pt x="1010" y="985"/>
                </a:lnTo>
                <a:lnTo>
                  <a:pt x="1003" y="985"/>
                </a:lnTo>
                <a:lnTo>
                  <a:pt x="1003" y="992"/>
                </a:lnTo>
                <a:lnTo>
                  <a:pt x="1003" y="998"/>
                </a:lnTo>
                <a:lnTo>
                  <a:pt x="1003" y="1005"/>
                </a:lnTo>
                <a:lnTo>
                  <a:pt x="997" y="1005"/>
                </a:lnTo>
                <a:lnTo>
                  <a:pt x="997" y="1011"/>
                </a:lnTo>
                <a:lnTo>
                  <a:pt x="990" y="1011"/>
                </a:lnTo>
                <a:lnTo>
                  <a:pt x="990" y="1018"/>
                </a:lnTo>
                <a:lnTo>
                  <a:pt x="984" y="1024"/>
                </a:lnTo>
                <a:lnTo>
                  <a:pt x="977" y="1031"/>
                </a:lnTo>
                <a:lnTo>
                  <a:pt x="971" y="1031"/>
                </a:lnTo>
                <a:lnTo>
                  <a:pt x="964" y="1031"/>
                </a:lnTo>
                <a:lnTo>
                  <a:pt x="964" y="1037"/>
                </a:lnTo>
                <a:lnTo>
                  <a:pt x="958" y="1037"/>
                </a:lnTo>
                <a:lnTo>
                  <a:pt x="951" y="1044"/>
                </a:lnTo>
                <a:lnTo>
                  <a:pt x="945" y="1044"/>
                </a:lnTo>
                <a:lnTo>
                  <a:pt x="951" y="1044"/>
                </a:lnTo>
                <a:lnTo>
                  <a:pt x="951" y="1051"/>
                </a:lnTo>
                <a:lnTo>
                  <a:pt x="945" y="1051"/>
                </a:lnTo>
                <a:lnTo>
                  <a:pt x="945" y="1057"/>
                </a:lnTo>
                <a:lnTo>
                  <a:pt x="938" y="1057"/>
                </a:lnTo>
                <a:lnTo>
                  <a:pt x="938" y="1064"/>
                </a:lnTo>
                <a:lnTo>
                  <a:pt x="932" y="1064"/>
                </a:lnTo>
                <a:lnTo>
                  <a:pt x="932" y="1070"/>
                </a:lnTo>
                <a:lnTo>
                  <a:pt x="925" y="1070"/>
                </a:lnTo>
                <a:lnTo>
                  <a:pt x="925" y="1077"/>
                </a:lnTo>
                <a:lnTo>
                  <a:pt x="919" y="1077"/>
                </a:lnTo>
                <a:lnTo>
                  <a:pt x="919" y="1083"/>
                </a:lnTo>
                <a:lnTo>
                  <a:pt x="919" y="1077"/>
                </a:lnTo>
                <a:lnTo>
                  <a:pt x="912" y="1077"/>
                </a:lnTo>
                <a:lnTo>
                  <a:pt x="912" y="1083"/>
                </a:lnTo>
                <a:lnTo>
                  <a:pt x="912" y="1090"/>
                </a:lnTo>
                <a:lnTo>
                  <a:pt x="912" y="1096"/>
                </a:lnTo>
                <a:lnTo>
                  <a:pt x="919" y="1096"/>
                </a:lnTo>
                <a:lnTo>
                  <a:pt x="919" y="1103"/>
                </a:lnTo>
                <a:lnTo>
                  <a:pt x="919" y="1109"/>
                </a:lnTo>
                <a:lnTo>
                  <a:pt x="919" y="1116"/>
                </a:lnTo>
                <a:lnTo>
                  <a:pt x="925" y="1116"/>
                </a:lnTo>
                <a:lnTo>
                  <a:pt x="925" y="1122"/>
                </a:lnTo>
                <a:lnTo>
                  <a:pt x="925" y="1129"/>
                </a:lnTo>
                <a:lnTo>
                  <a:pt x="925" y="1122"/>
                </a:lnTo>
                <a:lnTo>
                  <a:pt x="925" y="1129"/>
                </a:lnTo>
                <a:lnTo>
                  <a:pt x="925" y="1135"/>
                </a:lnTo>
                <a:lnTo>
                  <a:pt x="925" y="1142"/>
                </a:lnTo>
                <a:lnTo>
                  <a:pt x="925" y="1148"/>
                </a:lnTo>
                <a:lnTo>
                  <a:pt x="925" y="1155"/>
                </a:lnTo>
                <a:lnTo>
                  <a:pt x="925" y="1161"/>
                </a:lnTo>
                <a:lnTo>
                  <a:pt x="925" y="1155"/>
                </a:lnTo>
                <a:lnTo>
                  <a:pt x="925" y="1161"/>
                </a:lnTo>
                <a:lnTo>
                  <a:pt x="925" y="1168"/>
                </a:lnTo>
                <a:lnTo>
                  <a:pt x="919" y="1168"/>
                </a:lnTo>
                <a:lnTo>
                  <a:pt x="919" y="1174"/>
                </a:lnTo>
                <a:lnTo>
                  <a:pt x="912" y="1174"/>
                </a:lnTo>
                <a:lnTo>
                  <a:pt x="906" y="1174"/>
                </a:lnTo>
                <a:lnTo>
                  <a:pt x="906" y="1181"/>
                </a:lnTo>
                <a:lnTo>
                  <a:pt x="899" y="1181"/>
                </a:lnTo>
                <a:lnTo>
                  <a:pt x="893" y="1188"/>
                </a:lnTo>
                <a:lnTo>
                  <a:pt x="886" y="1188"/>
                </a:lnTo>
                <a:lnTo>
                  <a:pt x="886" y="1194"/>
                </a:lnTo>
                <a:lnTo>
                  <a:pt x="880" y="1201"/>
                </a:lnTo>
                <a:lnTo>
                  <a:pt x="886" y="1201"/>
                </a:lnTo>
                <a:lnTo>
                  <a:pt x="886" y="1207"/>
                </a:lnTo>
                <a:lnTo>
                  <a:pt x="886" y="1201"/>
                </a:lnTo>
                <a:lnTo>
                  <a:pt x="886" y="1207"/>
                </a:lnTo>
                <a:lnTo>
                  <a:pt x="886" y="1214"/>
                </a:lnTo>
                <a:lnTo>
                  <a:pt x="886" y="1220"/>
                </a:lnTo>
                <a:lnTo>
                  <a:pt x="886" y="1227"/>
                </a:lnTo>
                <a:lnTo>
                  <a:pt x="880" y="1233"/>
                </a:lnTo>
                <a:lnTo>
                  <a:pt x="880" y="1240"/>
                </a:lnTo>
                <a:lnTo>
                  <a:pt x="880" y="1246"/>
                </a:lnTo>
                <a:lnTo>
                  <a:pt x="880" y="1253"/>
                </a:lnTo>
                <a:lnTo>
                  <a:pt x="873" y="1253"/>
                </a:lnTo>
                <a:lnTo>
                  <a:pt x="867" y="1253"/>
                </a:lnTo>
                <a:lnTo>
                  <a:pt x="867" y="1259"/>
                </a:lnTo>
                <a:lnTo>
                  <a:pt x="867" y="1266"/>
                </a:lnTo>
                <a:lnTo>
                  <a:pt x="860" y="1266"/>
                </a:lnTo>
                <a:lnTo>
                  <a:pt x="860" y="1272"/>
                </a:lnTo>
                <a:lnTo>
                  <a:pt x="860" y="1279"/>
                </a:lnTo>
                <a:lnTo>
                  <a:pt x="854" y="1279"/>
                </a:lnTo>
                <a:lnTo>
                  <a:pt x="854" y="1285"/>
                </a:lnTo>
                <a:lnTo>
                  <a:pt x="847" y="1292"/>
                </a:lnTo>
                <a:lnTo>
                  <a:pt x="847" y="1298"/>
                </a:lnTo>
                <a:lnTo>
                  <a:pt x="841" y="1305"/>
                </a:lnTo>
                <a:lnTo>
                  <a:pt x="834" y="1305"/>
                </a:lnTo>
                <a:lnTo>
                  <a:pt x="834" y="1311"/>
                </a:lnTo>
                <a:lnTo>
                  <a:pt x="827" y="1318"/>
                </a:lnTo>
                <a:lnTo>
                  <a:pt x="827" y="1324"/>
                </a:lnTo>
                <a:lnTo>
                  <a:pt x="821" y="1324"/>
                </a:lnTo>
                <a:lnTo>
                  <a:pt x="821" y="1331"/>
                </a:lnTo>
                <a:lnTo>
                  <a:pt x="814" y="1331"/>
                </a:lnTo>
                <a:lnTo>
                  <a:pt x="808" y="1338"/>
                </a:lnTo>
                <a:lnTo>
                  <a:pt x="801" y="1344"/>
                </a:lnTo>
                <a:lnTo>
                  <a:pt x="795" y="1344"/>
                </a:lnTo>
                <a:lnTo>
                  <a:pt x="795" y="1351"/>
                </a:lnTo>
                <a:lnTo>
                  <a:pt x="788" y="1351"/>
                </a:lnTo>
                <a:lnTo>
                  <a:pt x="782" y="1351"/>
                </a:lnTo>
                <a:lnTo>
                  <a:pt x="775" y="1351"/>
                </a:lnTo>
                <a:lnTo>
                  <a:pt x="775" y="1357"/>
                </a:lnTo>
                <a:lnTo>
                  <a:pt x="769" y="1357"/>
                </a:lnTo>
                <a:lnTo>
                  <a:pt x="762" y="1357"/>
                </a:lnTo>
                <a:lnTo>
                  <a:pt x="756" y="1357"/>
                </a:lnTo>
                <a:lnTo>
                  <a:pt x="749" y="1357"/>
                </a:lnTo>
                <a:lnTo>
                  <a:pt x="743" y="1357"/>
                </a:lnTo>
                <a:lnTo>
                  <a:pt x="736" y="1357"/>
                </a:lnTo>
                <a:lnTo>
                  <a:pt x="730" y="1357"/>
                </a:lnTo>
                <a:lnTo>
                  <a:pt x="723" y="1357"/>
                </a:lnTo>
                <a:lnTo>
                  <a:pt x="723" y="1364"/>
                </a:lnTo>
                <a:lnTo>
                  <a:pt x="717" y="1364"/>
                </a:lnTo>
                <a:lnTo>
                  <a:pt x="710" y="1364"/>
                </a:lnTo>
                <a:lnTo>
                  <a:pt x="704" y="1364"/>
                </a:lnTo>
                <a:lnTo>
                  <a:pt x="697" y="1364"/>
                </a:lnTo>
                <a:lnTo>
                  <a:pt x="697" y="1370"/>
                </a:lnTo>
                <a:lnTo>
                  <a:pt x="691" y="1370"/>
                </a:lnTo>
                <a:lnTo>
                  <a:pt x="684" y="1370"/>
                </a:lnTo>
                <a:lnTo>
                  <a:pt x="678" y="1370"/>
                </a:lnTo>
                <a:lnTo>
                  <a:pt x="684" y="1364"/>
                </a:lnTo>
                <a:lnTo>
                  <a:pt x="678" y="1364"/>
                </a:lnTo>
                <a:lnTo>
                  <a:pt x="671" y="1364"/>
                </a:lnTo>
                <a:lnTo>
                  <a:pt x="671" y="1357"/>
                </a:lnTo>
                <a:lnTo>
                  <a:pt x="665" y="1357"/>
                </a:lnTo>
                <a:lnTo>
                  <a:pt x="671" y="1364"/>
                </a:lnTo>
                <a:lnTo>
                  <a:pt x="665" y="1364"/>
                </a:lnTo>
                <a:lnTo>
                  <a:pt x="665" y="1357"/>
                </a:lnTo>
                <a:lnTo>
                  <a:pt x="665" y="1351"/>
                </a:lnTo>
                <a:lnTo>
                  <a:pt x="665" y="1344"/>
                </a:lnTo>
                <a:lnTo>
                  <a:pt x="665" y="1338"/>
                </a:lnTo>
                <a:lnTo>
                  <a:pt x="658" y="1338"/>
                </a:lnTo>
                <a:lnTo>
                  <a:pt x="658" y="1331"/>
                </a:lnTo>
                <a:lnTo>
                  <a:pt x="665" y="1331"/>
                </a:lnTo>
                <a:lnTo>
                  <a:pt x="665" y="1324"/>
                </a:lnTo>
                <a:lnTo>
                  <a:pt x="665" y="1318"/>
                </a:lnTo>
                <a:lnTo>
                  <a:pt x="665" y="1311"/>
                </a:lnTo>
                <a:lnTo>
                  <a:pt x="665" y="1305"/>
                </a:lnTo>
                <a:lnTo>
                  <a:pt x="658" y="1305"/>
                </a:lnTo>
                <a:lnTo>
                  <a:pt x="658" y="1298"/>
                </a:lnTo>
                <a:lnTo>
                  <a:pt x="651" y="1292"/>
                </a:lnTo>
                <a:lnTo>
                  <a:pt x="651" y="1285"/>
                </a:lnTo>
                <a:lnTo>
                  <a:pt x="651" y="1279"/>
                </a:lnTo>
                <a:lnTo>
                  <a:pt x="645" y="1279"/>
                </a:lnTo>
                <a:lnTo>
                  <a:pt x="645" y="1272"/>
                </a:lnTo>
                <a:lnTo>
                  <a:pt x="645" y="1266"/>
                </a:lnTo>
                <a:lnTo>
                  <a:pt x="645" y="1259"/>
                </a:lnTo>
                <a:lnTo>
                  <a:pt x="638" y="1253"/>
                </a:lnTo>
                <a:lnTo>
                  <a:pt x="638" y="1246"/>
                </a:lnTo>
                <a:lnTo>
                  <a:pt x="632" y="1246"/>
                </a:lnTo>
                <a:lnTo>
                  <a:pt x="632" y="1240"/>
                </a:lnTo>
                <a:lnTo>
                  <a:pt x="625" y="1240"/>
                </a:lnTo>
                <a:lnTo>
                  <a:pt x="625" y="1233"/>
                </a:lnTo>
                <a:lnTo>
                  <a:pt x="619" y="1227"/>
                </a:lnTo>
                <a:lnTo>
                  <a:pt x="619" y="1220"/>
                </a:lnTo>
                <a:lnTo>
                  <a:pt x="619" y="1214"/>
                </a:lnTo>
                <a:lnTo>
                  <a:pt x="619" y="1207"/>
                </a:lnTo>
                <a:lnTo>
                  <a:pt x="612" y="1207"/>
                </a:lnTo>
                <a:lnTo>
                  <a:pt x="612" y="1201"/>
                </a:lnTo>
                <a:lnTo>
                  <a:pt x="612" y="1194"/>
                </a:lnTo>
                <a:lnTo>
                  <a:pt x="612" y="1188"/>
                </a:lnTo>
                <a:lnTo>
                  <a:pt x="612" y="1181"/>
                </a:lnTo>
                <a:lnTo>
                  <a:pt x="612" y="1174"/>
                </a:lnTo>
                <a:lnTo>
                  <a:pt x="606" y="1168"/>
                </a:lnTo>
                <a:lnTo>
                  <a:pt x="612" y="1168"/>
                </a:lnTo>
                <a:lnTo>
                  <a:pt x="606" y="1168"/>
                </a:lnTo>
                <a:lnTo>
                  <a:pt x="606" y="1161"/>
                </a:lnTo>
                <a:lnTo>
                  <a:pt x="606" y="1155"/>
                </a:lnTo>
                <a:lnTo>
                  <a:pt x="606" y="1148"/>
                </a:lnTo>
                <a:lnTo>
                  <a:pt x="606" y="1142"/>
                </a:lnTo>
                <a:lnTo>
                  <a:pt x="606" y="1135"/>
                </a:lnTo>
                <a:lnTo>
                  <a:pt x="606" y="1129"/>
                </a:lnTo>
                <a:lnTo>
                  <a:pt x="606" y="1122"/>
                </a:lnTo>
                <a:lnTo>
                  <a:pt x="599" y="1122"/>
                </a:lnTo>
                <a:lnTo>
                  <a:pt x="599" y="1116"/>
                </a:lnTo>
                <a:lnTo>
                  <a:pt x="599" y="1109"/>
                </a:lnTo>
                <a:lnTo>
                  <a:pt x="593" y="1109"/>
                </a:lnTo>
                <a:lnTo>
                  <a:pt x="593" y="1103"/>
                </a:lnTo>
                <a:lnTo>
                  <a:pt x="593" y="1096"/>
                </a:lnTo>
                <a:lnTo>
                  <a:pt x="586" y="1096"/>
                </a:lnTo>
                <a:lnTo>
                  <a:pt x="586" y="1090"/>
                </a:lnTo>
                <a:lnTo>
                  <a:pt x="586" y="1083"/>
                </a:lnTo>
                <a:lnTo>
                  <a:pt x="586" y="1077"/>
                </a:lnTo>
                <a:lnTo>
                  <a:pt x="580" y="1077"/>
                </a:lnTo>
                <a:lnTo>
                  <a:pt x="580" y="1070"/>
                </a:lnTo>
                <a:lnTo>
                  <a:pt x="580" y="1064"/>
                </a:lnTo>
                <a:lnTo>
                  <a:pt x="573" y="1064"/>
                </a:lnTo>
                <a:lnTo>
                  <a:pt x="573" y="1057"/>
                </a:lnTo>
                <a:lnTo>
                  <a:pt x="567" y="1057"/>
                </a:lnTo>
                <a:lnTo>
                  <a:pt x="567" y="1051"/>
                </a:lnTo>
                <a:lnTo>
                  <a:pt x="567" y="1044"/>
                </a:lnTo>
                <a:lnTo>
                  <a:pt x="567" y="1037"/>
                </a:lnTo>
                <a:lnTo>
                  <a:pt x="567" y="1031"/>
                </a:lnTo>
                <a:lnTo>
                  <a:pt x="567" y="1024"/>
                </a:lnTo>
                <a:lnTo>
                  <a:pt x="567" y="1018"/>
                </a:lnTo>
                <a:lnTo>
                  <a:pt x="567" y="1011"/>
                </a:lnTo>
                <a:lnTo>
                  <a:pt x="567" y="1005"/>
                </a:lnTo>
                <a:lnTo>
                  <a:pt x="567" y="998"/>
                </a:lnTo>
                <a:lnTo>
                  <a:pt x="573" y="992"/>
                </a:lnTo>
                <a:lnTo>
                  <a:pt x="573" y="985"/>
                </a:lnTo>
                <a:lnTo>
                  <a:pt x="573" y="979"/>
                </a:lnTo>
                <a:lnTo>
                  <a:pt x="573" y="972"/>
                </a:lnTo>
                <a:lnTo>
                  <a:pt x="580" y="966"/>
                </a:lnTo>
                <a:lnTo>
                  <a:pt x="580" y="959"/>
                </a:lnTo>
                <a:lnTo>
                  <a:pt x="580" y="953"/>
                </a:lnTo>
                <a:lnTo>
                  <a:pt x="586" y="953"/>
                </a:lnTo>
                <a:lnTo>
                  <a:pt x="586" y="946"/>
                </a:lnTo>
                <a:lnTo>
                  <a:pt x="593" y="946"/>
                </a:lnTo>
                <a:lnTo>
                  <a:pt x="593" y="940"/>
                </a:lnTo>
                <a:lnTo>
                  <a:pt x="599" y="933"/>
                </a:lnTo>
                <a:lnTo>
                  <a:pt x="599" y="927"/>
                </a:lnTo>
                <a:lnTo>
                  <a:pt x="599" y="920"/>
                </a:lnTo>
                <a:lnTo>
                  <a:pt x="599" y="914"/>
                </a:lnTo>
                <a:lnTo>
                  <a:pt x="593" y="914"/>
                </a:lnTo>
                <a:lnTo>
                  <a:pt x="599" y="907"/>
                </a:lnTo>
                <a:lnTo>
                  <a:pt x="593" y="907"/>
                </a:lnTo>
                <a:lnTo>
                  <a:pt x="593" y="901"/>
                </a:lnTo>
                <a:lnTo>
                  <a:pt x="586" y="894"/>
                </a:lnTo>
                <a:lnTo>
                  <a:pt x="593" y="894"/>
                </a:lnTo>
                <a:lnTo>
                  <a:pt x="586" y="894"/>
                </a:lnTo>
                <a:lnTo>
                  <a:pt x="586" y="887"/>
                </a:lnTo>
                <a:lnTo>
                  <a:pt x="586" y="881"/>
                </a:lnTo>
                <a:lnTo>
                  <a:pt x="586" y="874"/>
                </a:lnTo>
                <a:lnTo>
                  <a:pt x="586" y="881"/>
                </a:lnTo>
                <a:lnTo>
                  <a:pt x="586" y="874"/>
                </a:lnTo>
                <a:lnTo>
                  <a:pt x="593" y="874"/>
                </a:lnTo>
                <a:lnTo>
                  <a:pt x="593" y="868"/>
                </a:lnTo>
                <a:lnTo>
                  <a:pt x="586" y="868"/>
                </a:lnTo>
                <a:lnTo>
                  <a:pt x="586" y="861"/>
                </a:lnTo>
                <a:lnTo>
                  <a:pt x="586" y="855"/>
                </a:lnTo>
                <a:lnTo>
                  <a:pt x="586" y="848"/>
                </a:lnTo>
                <a:lnTo>
                  <a:pt x="580" y="848"/>
                </a:lnTo>
                <a:lnTo>
                  <a:pt x="580" y="842"/>
                </a:lnTo>
                <a:lnTo>
                  <a:pt x="580" y="835"/>
                </a:lnTo>
                <a:lnTo>
                  <a:pt x="573" y="829"/>
                </a:lnTo>
                <a:lnTo>
                  <a:pt x="573" y="822"/>
                </a:lnTo>
                <a:lnTo>
                  <a:pt x="580" y="822"/>
                </a:lnTo>
                <a:lnTo>
                  <a:pt x="586" y="822"/>
                </a:lnTo>
                <a:lnTo>
                  <a:pt x="580" y="822"/>
                </a:lnTo>
                <a:lnTo>
                  <a:pt x="573" y="822"/>
                </a:lnTo>
                <a:lnTo>
                  <a:pt x="573" y="816"/>
                </a:lnTo>
                <a:lnTo>
                  <a:pt x="573" y="809"/>
                </a:lnTo>
                <a:lnTo>
                  <a:pt x="567" y="803"/>
                </a:lnTo>
                <a:lnTo>
                  <a:pt x="567" y="796"/>
                </a:lnTo>
                <a:lnTo>
                  <a:pt x="560" y="796"/>
                </a:lnTo>
                <a:lnTo>
                  <a:pt x="560" y="790"/>
                </a:lnTo>
                <a:lnTo>
                  <a:pt x="560" y="783"/>
                </a:lnTo>
                <a:lnTo>
                  <a:pt x="554" y="783"/>
                </a:lnTo>
                <a:lnTo>
                  <a:pt x="554" y="777"/>
                </a:lnTo>
                <a:lnTo>
                  <a:pt x="547" y="777"/>
                </a:lnTo>
                <a:lnTo>
                  <a:pt x="547" y="770"/>
                </a:lnTo>
                <a:lnTo>
                  <a:pt x="541" y="770"/>
                </a:lnTo>
                <a:lnTo>
                  <a:pt x="541" y="764"/>
                </a:lnTo>
                <a:lnTo>
                  <a:pt x="534" y="764"/>
                </a:lnTo>
                <a:lnTo>
                  <a:pt x="534" y="757"/>
                </a:lnTo>
                <a:lnTo>
                  <a:pt x="541" y="764"/>
                </a:lnTo>
                <a:lnTo>
                  <a:pt x="541" y="757"/>
                </a:lnTo>
                <a:lnTo>
                  <a:pt x="534" y="757"/>
                </a:lnTo>
                <a:lnTo>
                  <a:pt x="534" y="750"/>
                </a:lnTo>
                <a:lnTo>
                  <a:pt x="528" y="750"/>
                </a:lnTo>
                <a:lnTo>
                  <a:pt x="534" y="750"/>
                </a:lnTo>
                <a:lnTo>
                  <a:pt x="534" y="744"/>
                </a:lnTo>
                <a:lnTo>
                  <a:pt x="528" y="744"/>
                </a:lnTo>
                <a:lnTo>
                  <a:pt x="528" y="737"/>
                </a:lnTo>
                <a:lnTo>
                  <a:pt x="521" y="737"/>
                </a:lnTo>
                <a:lnTo>
                  <a:pt x="528" y="737"/>
                </a:lnTo>
                <a:lnTo>
                  <a:pt x="528" y="744"/>
                </a:lnTo>
                <a:lnTo>
                  <a:pt x="534" y="744"/>
                </a:lnTo>
                <a:lnTo>
                  <a:pt x="528" y="744"/>
                </a:lnTo>
                <a:lnTo>
                  <a:pt x="528" y="737"/>
                </a:lnTo>
                <a:lnTo>
                  <a:pt x="521" y="737"/>
                </a:lnTo>
                <a:lnTo>
                  <a:pt x="521" y="731"/>
                </a:lnTo>
                <a:lnTo>
                  <a:pt x="521" y="724"/>
                </a:lnTo>
                <a:lnTo>
                  <a:pt x="521" y="731"/>
                </a:lnTo>
                <a:lnTo>
                  <a:pt x="528" y="724"/>
                </a:lnTo>
                <a:lnTo>
                  <a:pt x="528" y="718"/>
                </a:lnTo>
                <a:lnTo>
                  <a:pt x="528" y="711"/>
                </a:lnTo>
                <a:lnTo>
                  <a:pt x="528" y="705"/>
                </a:lnTo>
                <a:lnTo>
                  <a:pt x="528" y="711"/>
                </a:lnTo>
                <a:lnTo>
                  <a:pt x="534" y="711"/>
                </a:lnTo>
                <a:lnTo>
                  <a:pt x="541" y="711"/>
                </a:lnTo>
                <a:lnTo>
                  <a:pt x="534" y="711"/>
                </a:lnTo>
                <a:lnTo>
                  <a:pt x="534" y="705"/>
                </a:lnTo>
                <a:lnTo>
                  <a:pt x="528" y="705"/>
                </a:lnTo>
                <a:lnTo>
                  <a:pt x="534" y="698"/>
                </a:lnTo>
                <a:lnTo>
                  <a:pt x="534" y="705"/>
                </a:lnTo>
                <a:lnTo>
                  <a:pt x="534" y="698"/>
                </a:lnTo>
                <a:lnTo>
                  <a:pt x="534" y="692"/>
                </a:lnTo>
                <a:lnTo>
                  <a:pt x="528" y="692"/>
                </a:lnTo>
                <a:lnTo>
                  <a:pt x="528" y="685"/>
                </a:lnTo>
                <a:lnTo>
                  <a:pt x="534" y="685"/>
                </a:lnTo>
                <a:lnTo>
                  <a:pt x="534" y="679"/>
                </a:lnTo>
                <a:lnTo>
                  <a:pt x="534" y="672"/>
                </a:lnTo>
                <a:lnTo>
                  <a:pt x="534" y="666"/>
                </a:lnTo>
                <a:lnTo>
                  <a:pt x="534" y="659"/>
                </a:lnTo>
                <a:lnTo>
                  <a:pt x="541" y="659"/>
                </a:lnTo>
                <a:lnTo>
                  <a:pt x="541" y="653"/>
                </a:lnTo>
                <a:lnTo>
                  <a:pt x="534" y="653"/>
                </a:lnTo>
                <a:lnTo>
                  <a:pt x="534" y="646"/>
                </a:lnTo>
                <a:lnTo>
                  <a:pt x="534" y="640"/>
                </a:lnTo>
                <a:lnTo>
                  <a:pt x="528" y="640"/>
                </a:lnTo>
                <a:lnTo>
                  <a:pt x="534" y="640"/>
                </a:lnTo>
                <a:lnTo>
                  <a:pt x="528" y="640"/>
                </a:lnTo>
                <a:lnTo>
                  <a:pt x="521" y="640"/>
                </a:lnTo>
                <a:lnTo>
                  <a:pt x="521" y="633"/>
                </a:lnTo>
                <a:lnTo>
                  <a:pt x="521" y="627"/>
                </a:lnTo>
                <a:lnTo>
                  <a:pt x="521" y="633"/>
                </a:lnTo>
                <a:lnTo>
                  <a:pt x="515" y="633"/>
                </a:lnTo>
                <a:lnTo>
                  <a:pt x="515" y="627"/>
                </a:lnTo>
                <a:lnTo>
                  <a:pt x="508" y="627"/>
                </a:lnTo>
                <a:lnTo>
                  <a:pt x="508" y="633"/>
                </a:lnTo>
                <a:lnTo>
                  <a:pt x="502" y="633"/>
                </a:lnTo>
                <a:lnTo>
                  <a:pt x="502" y="627"/>
                </a:lnTo>
                <a:lnTo>
                  <a:pt x="495" y="627"/>
                </a:lnTo>
                <a:lnTo>
                  <a:pt x="495" y="633"/>
                </a:lnTo>
                <a:lnTo>
                  <a:pt x="495" y="627"/>
                </a:lnTo>
                <a:lnTo>
                  <a:pt x="495" y="633"/>
                </a:lnTo>
                <a:lnTo>
                  <a:pt x="488" y="633"/>
                </a:lnTo>
                <a:lnTo>
                  <a:pt x="488" y="627"/>
                </a:lnTo>
                <a:lnTo>
                  <a:pt x="488" y="633"/>
                </a:lnTo>
                <a:lnTo>
                  <a:pt x="488" y="627"/>
                </a:lnTo>
                <a:lnTo>
                  <a:pt x="488" y="633"/>
                </a:lnTo>
                <a:lnTo>
                  <a:pt x="482" y="633"/>
                </a:lnTo>
                <a:lnTo>
                  <a:pt x="475" y="633"/>
                </a:lnTo>
                <a:lnTo>
                  <a:pt x="475" y="627"/>
                </a:lnTo>
                <a:lnTo>
                  <a:pt x="469" y="627"/>
                </a:lnTo>
                <a:lnTo>
                  <a:pt x="469" y="620"/>
                </a:lnTo>
                <a:lnTo>
                  <a:pt x="469" y="614"/>
                </a:lnTo>
                <a:lnTo>
                  <a:pt x="475" y="614"/>
                </a:lnTo>
                <a:lnTo>
                  <a:pt x="469" y="614"/>
                </a:lnTo>
                <a:lnTo>
                  <a:pt x="469" y="607"/>
                </a:lnTo>
                <a:lnTo>
                  <a:pt x="469" y="614"/>
                </a:lnTo>
                <a:lnTo>
                  <a:pt x="462" y="607"/>
                </a:lnTo>
                <a:lnTo>
                  <a:pt x="462" y="600"/>
                </a:lnTo>
                <a:lnTo>
                  <a:pt x="456" y="600"/>
                </a:lnTo>
                <a:lnTo>
                  <a:pt x="456" y="594"/>
                </a:lnTo>
                <a:lnTo>
                  <a:pt x="449" y="594"/>
                </a:lnTo>
                <a:lnTo>
                  <a:pt x="443" y="594"/>
                </a:lnTo>
                <a:lnTo>
                  <a:pt x="436" y="594"/>
                </a:lnTo>
                <a:lnTo>
                  <a:pt x="443" y="594"/>
                </a:lnTo>
                <a:lnTo>
                  <a:pt x="436" y="594"/>
                </a:lnTo>
                <a:lnTo>
                  <a:pt x="430" y="594"/>
                </a:lnTo>
                <a:lnTo>
                  <a:pt x="423" y="594"/>
                </a:lnTo>
                <a:lnTo>
                  <a:pt x="417" y="600"/>
                </a:lnTo>
                <a:lnTo>
                  <a:pt x="410" y="600"/>
                </a:lnTo>
                <a:lnTo>
                  <a:pt x="404" y="600"/>
                </a:lnTo>
                <a:lnTo>
                  <a:pt x="404" y="607"/>
                </a:lnTo>
                <a:lnTo>
                  <a:pt x="397" y="607"/>
                </a:lnTo>
                <a:lnTo>
                  <a:pt x="397" y="600"/>
                </a:lnTo>
                <a:lnTo>
                  <a:pt x="391" y="600"/>
                </a:lnTo>
                <a:lnTo>
                  <a:pt x="397" y="600"/>
                </a:lnTo>
                <a:lnTo>
                  <a:pt x="397" y="607"/>
                </a:lnTo>
                <a:lnTo>
                  <a:pt x="391" y="607"/>
                </a:lnTo>
                <a:lnTo>
                  <a:pt x="384" y="614"/>
                </a:lnTo>
                <a:lnTo>
                  <a:pt x="378" y="614"/>
                </a:lnTo>
                <a:lnTo>
                  <a:pt x="378" y="620"/>
                </a:lnTo>
                <a:lnTo>
                  <a:pt x="371" y="620"/>
                </a:lnTo>
                <a:lnTo>
                  <a:pt x="365" y="620"/>
                </a:lnTo>
                <a:lnTo>
                  <a:pt x="358" y="620"/>
                </a:lnTo>
                <a:lnTo>
                  <a:pt x="358" y="627"/>
                </a:lnTo>
                <a:lnTo>
                  <a:pt x="352" y="627"/>
                </a:lnTo>
                <a:lnTo>
                  <a:pt x="352" y="620"/>
                </a:lnTo>
                <a:lnTo>
                  <a:pt x="345" y="620"/>
                </a:lnTo>
                <a:lnTo>
                  <a:pt x="339" y="620"/>
                </a:lnTo>
                <a:lnTo>
                  <a:pt x="345" y="620"/>
                </a:lnTo>
                <a:lnTo>
                  <a:pt x="339" y="620"/>
                </a:lnTo>
                <a:lnTo>
                  <a:pt x="339" y="614"/>
                </a:lnTo>
                <a:lnTo>
                  <a:pt x="339" y="620"/>
                </a:lnTo>
                <a:lnTo>
                  <a:pt x="332" y="620"/>
                </a:lnTo>
                <a:lnTo>
                  <a:pt x="326" y="620"/>
                </a:lnTo>
                <a:lnTo>
                  <a:pt x="326" y="614"/>
                </a:lnTo>
                <a:lnTo>
                  <a:pt x="332" y="614"/>
                </a:lnTo>
                <a:lnTo>
                  <a:pt x="326" y="614"/>
                </a:lnTo>
                <a:lnTo>
                  <a:pt x="319" y="614"/>
                </a:lnTo>
                <a:lnTo>
                  <a:pt x="319" y="620"/>
                </a:lnTo>
                <a:lnTo>
                  <a:pt x="312" y="620"/>
                </a:lnTo>
                <a:lnTo>
                  <a:pt x="319" y="620"/>
                </a:lnTo>
                <a:lnTo>
                  <a:pt x="326" y="614"/>
                </a:lnTo>
                <a:lnTo>
                  <a:pt x="326" y="620"/>
                </a:lnTo>
                <a:lnTo>
                  <a:pt x="319" y="620"/>
                </a:lnTo>
                <a:lnTo>
                  <a:pt x="312" y="620"/>
                </a:lnTo>
                <a:lnTo>
                  <a:pt x="306" y="620"/>
                </a:lnTo>
                <a:lnTo>
                  <a:pt x="312" y="620"/>
                </a:lnTo>
                <a:lnTo>
                  <a:pt x="306" y="620"/>
                </a:lnTo>
                <a:lnTo>
                  <a:pt x="299" y="620"/>
                </a:lnTo>
                <a:lnTo>
                  <a:pt x="293" y="620"/>
                </a:lnTo>
                <a:lnTo>
                  <a:pt x="293" y="627"/>
                </a:lnTo>
                <a:lnTo>
                  <a:pt x="286" y="627"/>
                </a:lnTo>
                <a:lnTo>
                  <a:pt x="280" y="627"/>
                </a:lnTo>
                <a:lnTo>
                  <a:pt x="280" y="633"/>
                </a:lnTo>
                <a:lnTo>
                  <a:pt x="273" y="633"/>
                </a:lnTo>
                <a:lnTo>
                  <a:pt x="267" y="633"/>
                </a:lnTo>
                <a:lnTo>
                  <a:pt x="267" y="627"/>
                </a:lnTo>
                <a:lnTo>
                  <a:pt x="260" y="627"/>
                </a:lnTo>
                <a:lnTo>
                  <a:pt x="254" y="627"/>
                </a:lnTo>
                <a:lnTo>
                  <a:pt x="254" y="620"/>
                </a:lnTo>
                <a:lnTo>
                  <a:pt x="247" y="620"/>
                </a:lnTo>
                <a:lnTo>
                  <a:pt x="247" y="614"/>
                </a:lnTo>
                <a:lnTo>
                  <a:pt x="241" y="614"/>
                </a:lnTo>
                <a:lnTo>
                  <a:pt x="241" y="607"/>
                </a:lnTo>
                <a:lnTo>
                  <a:pt x="234" y="607"/>
                </a:lnTo>
                <a:lnTo>
                  <a:pt x="234" y="600"/>
                </a:lnTo>
                <a:lnTo>
                  <a:pt x="228" y="600"/>
                </a:lnTo>
                <a:lnTo>
                  <a:pt x="221" y="600"/>
                </a:lnTo>
                <a:lnTo>
                  <a:pt x="221" y="594"/>
                </a:lnTo>
                <a:lnTo>
                  <a:pt x="215" y="587"/>
                </a:lnTo>
                <a:lnTo>
                  <a:pt x="208" y="587"/>
                </a:lnTo>
                <a:lnTo>
                  <a:pt x="208" y="581"/>
                </a:lnTo>
                <a:lnTo>
                  <a:pt x="202" y="581"/>
                </a:lnTo>
                <a:lnTo>
                  <a:pt x="195" y="581"/>
                </a:lnTo>
                <a:lnTo>
                  <a:pt x="195" y="574"/>
                </a:lnTo>
                <a:lnTo>
                  <a:pt x="202" y="574"/>
                </a:lnTo>
                <a:lnTo>
                  <a:pt x="195" y="574"/>
                </a:lnTo>
                <a:lnTo>
                  <a:pt x="195" y="568"/>
                </a:lnTo>
                <a:lnTo>
                  <a:pt x="189" y="568"/>
                </a:lnTo>
                <a:lnTo>
                  <a:pt x="189" y="561"/>
                </a:lnTo>
                <a:lnTo>
                  <a:pt x="182" y="561"/>
                </a:lnTo>
                <a:lnTo>
                  <a:pt x="182" y="555"/>
                </a:lnTo>
                <a:lnTo>
                  <a:pt x="189" y="555"/>
                </a:lnTo>
                <a:lnTo>
                  <a:pt x="189" y="561"/>
                </a:lnTo>
                <a:lnTo>
                  <a:pt x="189" y="555"/>
                </a:lnTo>
                <a:lnTo>
                  <a:pt x="189" y="548"/>
                </a:lnTo>
                <a:lnTo>
                  <a:pt x="182" y="548"/>
                </a:lnTo>
                <a:lnTo>
                  <a:pt x="189" y="542"/>
                </a:lnTo>
                <a:lnTo>
                  <a:pt x="182" y="542"/>
                </a:lnTo>
                <a:lnTo>
                  <a:pt x="182" y="535"/>
                </a:lnTo>
                <a:lnTo>
                  <a:pt x="176" y="535"/>
                </a:lnTo>
                <a:lnTo>
                  <a:pt x="176" y="529"/>
                </a:lnTo>
                <a:lnTo>
                  <a:pt x="182" y="529"/>
                </a:lnTo>
                <a:lnTo>
                  <a:pt x="176" y="529"/>
                </a:lnTo>
                <a:lnTo>
                  <a:pt x="176" y="535"/>
                </a:lnTo>
                <a:lnTo>
                  <a:pt x="176" y="529"/>
                </a:lnTo>
                <a:lnTo>
                  <a:pt x="169" y="529"/>
                </a:lnTo>
                <a:lnTo>
                  <a:pt x="169" y="522"/>
                </a:lnTo>
                <a:lnTo>
                  <a:pt x="163" y="522"/>
                </a:lnTo>
                <a:lnTo>
                  <a:pt x="163" y="516"/>
                </a:lnTo>
                <a:lnTo>
                  <a:pt x="169" y="516"/>
                </a:lnTo>
                <a:lnTo>
                  <a:pt x="163" y="516"/>
                </a:lnTo>
                <a:lnTo>
                  <a:pt x="163" y="509"/>
                </a:lnTo>
                <a:lnTo>
                  <a:pt x="163" y="516"/>
                </a:lnTo>
                <a:lnTo>
                  <a:pt x="156" y="516"/>
                </a:lnTo>
                <a:lnTo>
                  <a:pt x="156" y="509"/>
                </a:lnTo>
                <a:lnTo>
                  <a:pt x="150" y="503"/>
                </a:lnTo>
                <a:lnTo>
                  <a:pt x="156" y="503"/>
                </a:lnTo>
                <a:lnTo>
                  <a:pt x="150" y="503"/>
                </a:lnTo>
                <a:lnTo>
                  <a:pt x="156" y="503"/>
                </a:lnTo>
                <a:lnTo>
                  <a:pt x="156" y="496"/>
                </a:lnTo>
                <a:lnTo>
                  <a:pt x="156" y="503"/>
                </a:lnTo>
                <a:lnTo>
                  <a:pt x="156" y="496"/>
                </a:lnTo>
                <a:lnTo>
                  <a:pt x="156" y="503"/>
                </a:lnTo>
                <a:lnTo>
                  <a:pt x="150" y="503"/>
                </a:lnTo>
                <a:lnTo>
                  <a:pt x="150" y="496"/>
                </a:lnTo>
                <a:lnTo>
                  <a:pt x="156" y="496"/>
                </a:lnTo>
                <a:lnTo>
                  <a:pt x="163" y="496"/>
                </a:lnTo>
                <a:lnTo>
                  <a:pt x="156" y="496"/>
                </a:lnTo>
                <a:lnTo>
                  <a:pt x="156" y="490"/>
                </a:lnTo>
                <a:lnTo>
                  <a:pt x="156" y="496"/>
                </a:lnTo>
                <a:lnTo>
                  <a:pt x="156" y="490"/>
                </a:lnTo>
                <a:lnTo>
                  <a:pt x="150" y="496"/>
                </a:lnTo>
                <a:lnTo>
                  <a:pt x="143" y="496"/>
                </a:lnTo>
                <a:lnTo>
                  <a:pt x="143" y="490"/>
                </a:lnTo>
                <a:lnTo>
                  <a:pt x="150" y="490"/>
                </a:lnTo>
                <a:lnTo>
                  <a:pt x="143" y="490"/>
                </a:lnTo>
                <a:lnTo>
                  <a:pt x="143" y="496"/>
                </a:lnTo>
                <a:lnTo>
                  <a:pt x="136" y="490"/>
                </a:lnTo>
                <a:lnTo>
                  <a:pt x="143" y="490"/>
                </a:lnTo>
                <a:lnTo>
                  <a:pt x="143" y="483"/>
                </a:lnTo>
                <a:lnTo>
                  <a:pt x="143" y="490"/>
                </a:lnTo>
                <a:lnTo>
                  <a:pt x="136" y="490"/>
                </a:lnTo>
                <a:lnTo>
                  <a:pt x="136" y="483"/>
                </a:lnTo>
                <a:lnTo>
                  <a:pt x="130" y="483"/>
                </a:lnTo>
                <a:lnTo>
                  <a:pt x="136" y="483"/>
                </a:lnTo>
                <a:lnTo>
                  <a:pt x="143" y="483"/>
                </a:lnTo>
                <a:lnTo>
                  <a:pt x="150" y="483"/>
                </a:lnTo>
                <a:lnTo>
                  <a:pt x="150" y="477"/>
                </a:lnTo>
                <a:lnTo>
                  <a:pt x="156" y="477"/>
                </a:lnTo>
                <a:lnTo>
                  <a:pt x="150" y="477"/>
                </a:lnTo>
                <a:lnTo>
                  <a:pt x="150" y="483"/>
                </a:lnTo>
                <a:lnTo>
                  <a:pt x="143" y="483"/>
                </a:lnTo>
                <a:lnTo>
                  <a:pt x="143" y="477"/>
                </a:lnTo>
                <a:lnTo>
                  <a:pt x="143" y="483"/>
                </a:lnTo>
                <a:lnTo>
                  <a:pt x="136" y="483"/>
                </a:lnTo>
                <a:lnTo>
                  <a:pt x="136" y="477"/>
                </a:lnTo>
                <a:lnTo>
                  <a:pt x="136" y="483"/>
                </a:lnTo>
                <a:lnTo>
                  <a:pt x="130" y="483"/>
                </a:lnTo>
                <a:lnTo>
                  <a:pt x="130" y="477"/>
                </a:lnTo>
                <a:lnTo>
                  <a:pt x="130" y="470"/>
                </a:lnTo>
                <a:lnTo>
                  <a:pt x="130" y="464"/>
                </a:lnTo>
                <a:lnTo>
                  <a:pt x="136" y="464"/>
                </a:lnTo>
                <a:lnTo>
                  <a:pt x="136" y="470"/>
                </a:lnTo>
                <a:lnTo>
                  <a:pt x="143" y="470"/>
                </a:lnTo>
                <a:lnTo>
                  <a:pt x="143" y="464"/>
                </a:lnTo>
                <a:lnTo>
                  <a:pt x="150" y="464"/>
                </a:lnTo>
                <a:lnTo>
                  <a:pt x="156" y="464"/>
                </a:lnTo>
                <a:lnTo>
                  <a:pt x="150" y="464"/>
                </a:lnTo>
                <a:lnTo>
                  <a:pt x="143" y="464"/>
                </a:lnTo>
                <a:lnTo>
                  <a:pt x="143" y="470"/>
                </a:lnTo>
                <a:lnTo>
                  <a:pt x="136" y="470"/>
                </a:lnTo>
                <a:lnTo>
                  <a:pt x="136" y="464"/>
                </a:lnTo>
                <a:lnTo>
                  <a:pt x="136" y="457"/>
                </a:lnTo>
                <a:lnTo>
                  <a:pt x="130" y="457"/>
                </a:lnTo>
                <a:lnTo>
                  <a:pt x="136" y="457"/>
                </a:lnTo>
                <a:lnTo>
                  <a:pt x="136" y="450"/>
                </a:lnTo>
                <a:lnTo>
                  <a:pt x="136" y="457"/>
                </a:lnTo>
                <a:lnTo>
                  <a:pt x="130" y="457"/>
                </a:lnTo>
                <a:lnTo>
                  <a:pt x="130" y="450"/>
                </a:lnTo>
                <a:lnTo>
                  <a:pt x="130" y="444"/>
                </a:lnTo>
                <a:lnTo>
                  <a:pt x="123" y="444"/>
                </a:lnTo>
                <a:lnTo>
                  <a:pt x="123" y="437"/>
                </a:lnTo>
                <a:lnTo>
                  <a:pt x="130" y="437"/>
                </a:lnTo>
                <a:lnTo>
                  <a:pt x="130" y="431"/>
                </a:lnTo>
                <a:lnTo>
                  <a:pt x="130" y="424"/>
                </a:lnTo>
                <a:lnTo>
                  <a:pt x="136" y="424"/>
                </a:lnTo>
                <a:lnTo>
                  <a:pt x="136" y="418"/>
                </a:lnTo>
                <a:lnTo>
                  <a:pt x="136" y="411"/>
                </a:lnTo>
                <a:lnTo>
                  <a:pt x="136" y="405"/>
                </a:lnTo>
                <a:lnTo>
                  <a:pt x="136" y="398"/>
                </a:lnTo>
                <a:lnTo>
                  <a:pt x="143" y="398"/>
                </a:lnTo>
                <a:lnTo>
                  <a:pt x="143" y="392"/>
                </a:lnTo>
                <a:lnTo>
                  <a:pt x="143" y="385"/>
                </a:lnTo>
                <a:lnTo>
                  <a:pt x="143" y="379"/>
                </a:lnTo>
                <a:lnTo>
                  <a:pt x="143" y="372"/>
                </a:lnTo>
                <a:lnTo>
                  <a:pt x="143" y="366"/>
                </a:lnTo>
                <a:lnTo>
                  <a:pt x="143" y="359"/>
                </a:lnTo>
                <a:lnTo>
                  <a:pt x="136" y="359"/>
                </a:lnTo>
                <a:lnTo>
                  <a:pt x="136" y="353"/>
                </a:lnTo>
                <a:lnTo>
                  <a:pt x="136" y="346"/>
                </a:lnTo>
                <a:lnTo>
                  <a:pt x="143" y="346"/>
                </a:lnTo>
                <a:lnTo>
                  <a:pt x="143" y="340"/>
                </a:lnTo>
                <a:lnTo>
                  <a:pt x="136" y="333"/>
                </a:lnTo>
                <a:lnTo>
                  <a:pt x="136" y="327"/>
                </a:lnTo>
                <a:lnTo>
                  <a:pt x="136" y="333"/>
                </a:lnTo>
                <a:lnTo>
                  <a:pt x="130" y="320"/>
                </a:lnTo>
                <a:lnTo>
                  <a:pt x="130" y="327"/>
                </a:lnTo>
                <a:lnTo>
                  <a:pt x="130" y="320"/>
                </a:lnTo>
                <a:lnTo>
                  <a:pt x="130" y="313"/>
                </a:lnTo>
                <a:lnTo>
                  <a:pt x="130" y="307"/>
                </a:lnTo>
                <a:lnTo>
                  <a:pt x="130" y="300"/>
                </a:lnTo>
                <a:lnTo>
                  <a:pt x="136" y="300"/>
                </a:lnTo>
                <a:lnTo>
                  <a:pt x="136" y="294"/>
                </a:lnTo>
                <a:lnTo>
                  <a:pt x="136" y="287"/>
                </a:lnTo>
                <a:lnTo>
                  <a:pt x="143" y="287"/>
                </a:lnTo>
                <a:lnTo>
                  <a:pt x="143" y="281"/>
                </a:lnTo>
                <a:lnTo>
                  <a:pt x="143" y="274"/>
                </a:lnTo>
                <a:lnTo>
                  <a:pt x="150" y="274"/>
                </a:lnTo>
                <a:lnTo>
                  <a:pt x="150" y="268"/>
                </a:lnTo>
                <a:lnTo>
                  <a:pt x="143" y="268"/>
                </a:lnTo>
                <a:lnTo>
                  <a:pt x="143" y="274"/>
                </a:lnTo>
                <a:lnTo>
                  <a:pt x="143" y="268"/>
                </a:lnTo>
                <a:lnTo>
                  <a:pt x="150" y="268"/>
                </a:lnTo>
                <a:lnTo>
                  <a:pt x="150" y="261"/>
                </a:lnTo>
                <a:lnTo>
                  <a:pt x="156" y="261"/>
                </a:lnTo>
                <a:lnTo>
                  <a:pt x="156" y="255"/>
                </a:lnTo>
                <a:lnTo>
                  <a:pt x="163" y="255"/>
                </a:lnTo>
                <a:lnTo>
                  <a:pt x="163" y="248"/>
                </a:lnTo>
                <a:lnTo>
                  <a:pt x="163" y="242"/>
                </a:lnTo>
                <a:lnTo>
                  <a:pt x="163" y="235"/>
                </a:lnTo>
                <a:lnTo>
                  <a:pt x="163" y="229"/>
                </a:lnTo>
                <a:lnTo>
                  <a:pt x="169" y="229"/>
                </a:lnTo>
                <a:lnTo>
                  <a:pt x="169" y="222"/>
                </a:lnTo>
                <a:lnTo>
                  <a:pt x="176" y="222"/>
                </a:lnTo>
                <a:lnTo>
                  <a:pt x="176" y="216"/>
                </a:lnTo>
                <a:lnTo>
                  <a:pt x="182" y="216"/>
                </a:lnTo>
                <a:lnTo>
                  <a:pt x="182" y="209"/>
                </a:lnTo>
                <a:lnTo>
                  <a:pt x="182" y="203"/>
                </a:lnTo>
                <a:lnTo>
                  <a:pt x="189" y="203"/>
                </a:lnTo>
                <a:lnTo>
                  <a:pt x="189" y="196"/>
                </a:lnTo>
                <a:lnTo>
                  <a:pt x="189" y="190"/>
                </a:lnTo>
                <a:lnTo>
                  <a:pt x="195" y="190"/>
                </a:lnTo>
                <a:lnTo>
                  <a:pt x="202" y="190"/>
                </a:lnTo>
                <a:lnTo>
                  <a:pt x="208" y="183"/>
                </a:lnTo>
                <a:lnTo>
                  <a:pt x="215" y="183"/>
                </a:lnTo>
                <a:lnTo>
                  <a:pt x="215" y="177"/>
                </a:lnTo>
                <a:lnTo>
                  <a:pt x="221" y="177"/>
                </a:lnTo>
                <a:lnTo>
                  <a:pt x="221" y="170"/>
                </a:lnTo>
                <a:lnTo>
                  <a:pt x="228" y="170"/>
                </a:lnTo>
                <a:lnTo>
                  <a:pt x="228" y="163"/>
                </a:lnTo>
                <a:lnTo>
                  <a:pt x="234" y="163"/>
                </a:lnTo>
                <a:lnTo>
                  <a:pt x="234" y="157"/>
                </a:lnTo>
                <a:lnTo>
                  <a:pt x="241" y="150"/>
                </a:lnTo>
                <a:lnTo>
                  <a:pt x="241" y="144"/>
                </a:lnTo>
                <a:lnTo>
                  <a:pt x="241" y="137"/>
                </a:lnTo>
                <a:lnTo>
                  <a:pt x="234" y="137"/>
                </a:lnTo>
                <a:lnTo>
                  <a:pt x="241" y="137"/>
                </a:lnTo>
                <a:lnTo>
                  <a:pt x="241" y="131"/>
                </a:lnTo>
                <a:lnTo>
                  <a:pt x="234" y="131"/>
                </a:lnTo>
                <a:lnTo>
                  <a:pt x="234" y="124"/>
                </a:lnTo>
                <a:lnTo>
                  <a:pt x="241" y="124"/>
                </a:lnTo>
                <a:lnTo>
                  <a:pt x="241" y="118"/>
                </a:lnTo>
                <a:lnTo>
                  <a:pt x="241" y="111"/>
                </a:lnTo>
                <a:lnTo>
                  <a:pt x="247" y="111"/>
                </a:lnTo>
                <a:lnTo>
                  <a:pt x="247" y="105"/>
                </a:lnTo>
                <a:lnTo>
                  <a:pt x="247" y="98"/>
                </a:lnTo>
                <a:lnTo>
                  <a:pt x="247" y="92"/>
                </a:lnTo>
                <a:lnTo>
                  <a:pt x="254" y="92"/>
                </a:lnTo>
                <a:lnTo>
                  <a:pt x="254" y="85"/>
                </a:lnTo>
                <a:lnTo>
                  <a:pt x="260" y="85"/>
                </a:lnTo>
                <a:lnTo>
                  <a:pt x="267" y="79"/>
                </a:lnTo>
                <a:lnTo>
                  <a:pt x="273" y="79"/>
                </a:lnTo>
                <a:lnTo>
                  <a:pt x="280" y="72"/>
                </a:lnTo>
                <a:lnTo>
                  <a:pt x="286" y="72"/>
                </a:lnTo>
                <a:lnTo>
                  <a:pt x="286" y="66"/>
                </a:lnTo>
                <a:lnTo>
                  <a:pt x="286" y="59"/>
                </a:lnTo>
                <a:lnTo>
                  <a:pt x="293" y="53"/>
                </a:lnTo>
                <a:lnTo>
                  <a:pt x="293" y="46"/>
                </a:lnTo>
                <a:lnTo>
                  <a:pt x="293" y="40"/>
                </a:lnTo>
                <a:lnTo>
                  <a:pt x="299" y="40"/>
                </a:lnTo>
                <a:lnTo>
                  <a:pt x="299" y="33"/>
                </a:lnTo>
                <a:lnTo>
                  <a:pt x="306" y="33"/>
                </a:lnTo>
                <a:lnTo>
                  <a:pt x="306" y="40"/>
                </a:lnTo>
                <a:lnTo>
                  <a:pt x="312" y="40"/>
                </a:lnTo>
                <a:lnTo>
                  <a:pt x="312" y="46"/>
                </a:lnTo>
                <a:lnTo>
                  <a:pt x="319" y="46"/>
                </a:lnTo>
                <a:lnTo>
                  <a:pt x="326" y="46"/>
                </a:lnTo>
                <a:lnTo>
                  <a:pt x="332" y="46"/>
                </a:lnTo>
                <a:lnTo>
                  <a:pt x="339" y="46"/>
                </a:lnTo>
                <a:lnTo>
                  <a:pt x="339" y="40"/>
                </a:lnTo>
                <a:lnTo>
                  <a:pt x="345" y="46"/>
                </a:lnTo>
                <a:lnTo>
                  <a:pt x="352" y="46"/>
                </a:lnTo>
                <a:lnTo>
                  <a:pt x="358" y="46"/>
                </a:lnTo>
                <a:lnTo>
                  <a:pt x="365" y="46"/>
                </a:lnTo>
                <a:lnTo>
                  <a:pt x="365" y="40"/>
                </a:lnTo>
                <a:lnTo>
                  <a:pt x="371" y="40"/>
                </a:lnTo>
                <a:lnTo>
                  <a:pt x="371" y="33"/>
                </a:lnTo>
                <a:lnTo>
                  <a:pt x="378" y="33"/>
                </a:lnTo>
                <a:lnTo>
                  <a:pt x="384" y="33"/>
                </a:lnTo>
                <a:lnTo>
                  <a:pt x="391" y="33"/>
                </a:lnTo>
                <a:lnTo>
                  <a:pt x="391" y="26"/>
                </a:lnTo>
                <a:lnTo>
                  <a:pt x="397" y="26"/>
                </a:lnTo>
                <a:lnTo>
                  <a:pt x="397" y="20"/>
                </a:lnTo>
                <a:lnTo>
                  <a:pt x="404" y="20"/>
                </a:lnTo>
                <a:lnTo>
                  <a:pt x="410" y="20"/>
                </a:lnTo>
                <a:lnTo>
                  <a:pt x="417" y="20"/>
                </a:lnTo>
                <a:lnTo>
                  <a:pt x="423" y="20"/>
                </a:lnTo>
                <a:lnTo>
                  <a:pt x="430" y="20"/>
                </a:lnTo>
                <a:lnTo>
                  <a:pt x="430" y="13"/>
                </a:lnTo>
                <a:lnTo>
                  <a:pt x="436" y="13"/>
                </a:lnTo>
                <a:lnTo>
                  <a:pt x="443" y="13"/>
                </a:lnTo>
                <a:lnTo>
                  <a:pt x="449" y="13"/>
                </a:lnTo>
                <a:lnTo>
                  <a:pt x="456" y="13"/>
                </a:lnTo>
                <a:lnTo>
                  <a:pt x="462" y="13"/>
                </a:lnTo>
                <a:lnTo>
                  <a:pt x="469" y="13"/>
                </a:lnTo>
                <a:lnTo>
                  <a:pt x="469" y="20"/>
                </a:lnTo>
                <a:lnTo>
                  <a:pt x="469" y="13"/>
                </a:lnTo>
                <a:lnTo>
                  <a:pt x="475" y="13"/>
                </a:lnTo>
                <a:lnTo>
                  <a:pt x="482" y="13"/>
                </a:lnTo>
                <a:lnTo>
                  <a:pt x="482" y="7"/>
                </a:lnTo>
                <a:lnTo>
                  <a:pt x="488" y="7"/>
                </a:lnTo>
                <a:lnTo>
                  <a:pt x="495" y="13"/>
                </a:lnTo>
                <a:lnTo>
                  <a:pt x="495" y="7"/>
                </a:lnTo>
                <a:lnTo>
                  <a:pt x="502" y="7"/>
                </a:lnTo>
                <a:lnTo>
                  <a:pt x="502" y="13"/>
                </a:lnTo>
                <a:lnTo>
                  <a:pt x="508" y="13"/>
                </a:lnTo>
                <a:lnTo>
                  <a:pt x="515" y="13"/>
                </a:lnTo>
                <a:lnTo>
                  <a:pt x="521" y="13"/>
                </a:lnTo>
                <a:lnTo>
                  <a:pt x="521" y="7"/>
                </a:lnTo>
                <a:lnTo>
                  <a:pt x="528" y="7"/>
                </a:lnTo>
                <a:lnTo>
                  <a:pt x="534" y="0"/>
                </a:lnTo>
                <a:lnTo>
                  <a:pt x="534" y="7"/>
                </a:lnTo>
                <a:close/>
              </a:path>
            </a:pathLst>
          </a:custGeom>
          <a:blipFill dpi="0" rotWithShape="1">
            <a:blip r:embed="rId2">
              <a:extLst>
                <a:ext uri="{28A0092B-C50C-407E-A947-70E740481C1C}">
                  <a14:useLocalDpi xmlns:a14="http://schemas.microsoft.com/office/drawing/2010/main" val="0"/>
                </a:ext>
              </a:extLst>
            </a:blip>
            <a:srcRect/>
            <a:stretch>
              <a:fillRect/>
            </a:stretch>
          </a:blipFill>
          <a:ln w="3175" cap="flat" cmpd="sng">
            <a:noFill/>
            <a:prstDash val="solid"/>
            <a:round/>
            <a:headEnd type="none" w="med" len="med"/>
            <a:tailEnd type="none" w="med" len="med"/>
          </a:ln>
          <a:effectLst/>
        </p:spPr>
        <p:txBody>
          <a:bodyPr/>
          <a:lstStyle/>
          <a:p>
            <a:endParaRPr lang="en-US" dirty="0">
              <a:latin typeface="Garamond" panose="02020404030301010803" pitchFamily="18" charset="0"/>
            </a:endParaRPr>
          </a:p>
        </p:txBody>
      </p:sp>
      <p:sp>
        <p:nvSpPr>
          <p:cNvPr id="11" name="Flowchart: Process 10"/>
          <p:cNvSpPr/>
          <p:nvPr/>
        </p:nvSpPr>
        <p:spPr>
          <a:xfrm>
            <a:off x="1588" y="5242328"/>
            <a:ext cx="12193066" cy="967991"/>
          </a:xfrm>
          <a:prstGeom prst="flowChartProcess">
            <a:avLst/>
          </a:prstGeom>
          <a:solidFill>
            <a:srgbClr val="BBA8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Garamond" panose="02020404030301010803" pitchFamily="18" charset="0"/>
            </a:endParaRPr>
          </a:p>
        </p:txBody>
      </p:sp>
      <p:sp>
        <p:nvSpPr>
          <p:cNvPr id="12" name="Flowchart: Manual Input 11"/>
          <p:cNvSpPr/>
          <p:nvPr/>
        </p:nvSpPr>
        <p:spPr>
          <a:xfrm rot="5400000">
            <a:off x="3366995" y="1220096"/>
            <a:ext cx="1313646" cy="8044461"/>
          </a:xfrm>
          <a:prstGeom prst="flowChartManualInput">
            <a:avLst/>
          </a:prstGeom>
          <a:solidFill>
            <a:srgbClr val="96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800" b="1" dirty="0">
                <a:solidFill>
                  <a:schemeClr val="bg1"/>
                </a:solidFill>
                <a:latin typeface="Garamond" panose="02020404030301010803" pitchFamily="18" charset="0"/>
              </a:rPr>
              <a:t>Thank You</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87467" y="1636718"/>
            <a:ext cx="8417069" cy="2308865"/>
          </a:xfrm>
          <a:prstGeom prst="rect">
            <a:avLst/>
          </a:prstGeom>
        </p:spPr>
      </p:pic>
    </p:spTree>
    <p:extLst>
      <p:ext uri="{BB962C8B-B14F-4D97-AF65-F5344CB8AC3E}">
        <p14:creationId xmlns:p14="http://schemas.microsoft.com/office/powerpoint/2010/main" val="444271857"/>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1D23ED42-AE28-4904-B17E-B0FEDD9AD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1464"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xmlns="" id="{1D23ED42-AE28-4904-B17E-B0FEDD9AD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781C8D1E-F670-43B5-AE9A-B2F24230772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800" b="1" dirty="0">
              <a:latin typeface="Garamond" panose="02020404030301010803" pitchFamily="18" charset="0"/>
              <a:ea typeface="+mj-ea"/>
              <a:cs typeface="+mj-cs"/>
              <a:sym typeface="Garamond" panose="02020404030301010803" pitchFamily="18" charset="0"/>
            </a:endParaRPr>
          </a:p>
        </p:txBody>
      </p:sp>
      <p:sp>
        <p:nvSpPr>
          <p:cNvPr id="7" name="Rectangle 6">
            <a:extLst>
              <a:ext uri="{FF2B5EF4-FFF2-40B4-BE49-F238E27FC236}">
                <a16:creationId xmlns:a16="http://schemas.microsoft.com/office/drawing/2014/main" xmlns="" id="{7C5357B5-9A7A-4156-8F4A-0A23A8ECF298}"/>
              </a:ext>
            </a:extLst>
          </p:cNvPr>
          <p:cNvSpPr/>
          <p:nvPr/>
        </p:nvSpPr>
        <p:spPr>
          <a:xfrm>
            <a:off x="1049483" y="1671144"/>
            <a:ext cx="3217715" cy="2788495"/>
          </a:xfrm>
          <a:prstGeom prst="rect">
            <a:avLst/>
          </a:prstGeom>
          <a:solidFill>
            <a:srgbClr val="BBA869"/>
          </a:solidFill>
          <a:ln>
            <a:noFill/>
          </a:ln>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Garamond" panose="02020404030301010803" pitchFamily="18" charset="0"/>
            </a:endParaRPr>
          </a:p>
        </p:txBody>
      </p:sp>
      <p:sp>
        <p:nvSpPr>
          <p:cNvPr id="5" name="Title 4"/>
          <p:cNvSpPr>
            <a:spLocks noGrp="1"/>
          </p:cNvSpPr>
          <p:nvPr>
            <p:ph type="title"/>
          </p:nvPr>
        </p:nvSpPr>
        <p:spPr>
          <a:xfrm>
            <a:off x="1007443" y="481818"/>
            <a:ext cx="10213460" cy="609600"/>
          </a:xfrm>
        </p:spPr>
        <p:txBody>
          <a:bodyPr anchor="t">
            <a:normAutofit/>
          </a:bodyPr>
          <a:lstStyle/>
          <a:p>
            <a:r>
              <a:rPr lang="en-ZA" sz="2500" b="1" dirty="0">
                <a:solidFill>
                  <a:srgbClr val="862624"/>
                </a:solidFill>
                <a:latin typeface="Garamond"/>
              </a:rPr>
              <a:t>Gerald </a:t>
            </a:r>
            <a:r>
              <a:rPr lang="en-ZA" sz="2500" b="1">
                <a:solidFill>
                  <a:srgbClr val="862624"/>
                </a:solidFill>
                <a:latin typeface="Garamond"/>
              </a:rPr>
              <a:t>Matolo – </a:t>
            </a:r>
            <a:r>
              <a:rPr lang="en-ZA" sz="2500" b="1" err="1">
                <a:solidFill>
                  <a:srgbClr val="862624"/>
                </a:solidFill>
                <a:latin typeface="Garamond"/>
              </a:rPr>
              <a:t>Angaza</a:t>
            </a:r>
            <a:r>
              <a:rPr lang="en-ZA" sz="2500" b="1" dirty="0">
                <a:solidFill>
                  <a:srgbClr val="862624"/>
                </a:solidFill>
                <a:latin typeface="Garamond"/>
              </a:rPr>
              <a:t> Africa Technologies: Briquette production</a:t>
            </a:r>
          </a:p>
        </p:txBody>
      </p:sp>
      <p:pic>
        <p:nvPicPr>
          <p:cNvPr id="2" name="Picture 1" descr="A person wearing a suit and tie&#10;&#10;Description generated with very high confidence"/>
          <p:cNvPicPr preferRelativeResize="0">
            <a:picLocks/>
          </p:cNvPicPr>
          <p:nvPr/>
        </p:nvPicPr>
        <p:blipFill rotWithShape="1">
          <a:blip r:embed="rId8"/>
          <a:srcRect l="15660" t="6150" r="9793" b="5434"/>
          <a:stretch/>
        </p:blipFill>
        <p:spPr>
          <a:xfrm>
            <a:off x="1293712" y="1878876"/>
            <a:ext cx="2729250" cy="2353978"/>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524703" y="4698125"/>
            <a:ext cx="6448098" cy="1786759"/>
          </a:xfrm>
          <a:prstGeom prst="rect">
            <a:avLst/>
          </a:prstGeom>
          <a:solidFill>
            <a:schemeClr val="accent5">
              <a:lumMod val="20000"/>
              <a:lumOff val="80000"/>
            </a:schemeClr>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62624"/>
                </a:solidFill>
                <a:latin typeface="Garamond"/>
              </a:rPr>
              <a:t>ABOUT GERALD</a:t>
            </a:r>
          </a:p>
          <a:p>
            <a:pPr algn="ctr"/>
            <a:r>
              <a:rPr lang="en-US" sz="1400" dirty="0">
                <a:solidFill>
                  <a:srgbClr val="862624"/>
                </a:solidFill>
                <a:latin typeface="Garamond"/>
              </a:rPr>
              <a:t>Gerald </a:t>
            </a:r>
            <a:r>
              <a:rPr lang="en-US" sz="1400" dirty="0" err="1">
                <a:solidFill>
                  <a:srgbClr val="862624"/>
                </a:solidFill>
                <a:latin typeface="Garamond"/>
              </a:rPr>
              <a:t>Matolo</a:t>
            </a:r>
            <a:r>
              <a:rPr lang="en-US" sz="1400" dirty="0">
                <a:solidFill>
                  <a:srgbClr val="862624"/>
                </a:solidFill>
                <a:latin typeface="Garamond"/>
              </a:rPr>
              <a:t> is the founder and CEO of </a:t>
            </a:r>
            <a:r>
              <a:rPr lang="en-US" sz="1400" dirty="0" err="1">
                <a:solidFill>
                  <a:srgbClr val="862624"/>
                </a:solidFill>
                <a:latin typeface="Garamond"/>
              </a:rPr>
              <a:t>Angaza</a:t>
            </a:r>
            <a:r>
              <a:rPr lang="en-US" sz="1400" dirty="0">
                <a:solidFill>
                  <a:srgbClr val="862624"/>
                </a:solidFill>
                <a:latin typeface="Garamond"/>
              </a:rPr>
              <a:t> Africa Technologies. He is an Electrical Engineering student. In addition to his involvement in </a:t>
            </a:r>
            <a:r>
              <a:rPr lang="en-US" sz="1400" dirty="0" err="1">
                <a:solidFill>
                  <a:srgbClr val="862624"/>
                </a:solidFill>
                <a:latin typeface="Garamond"/>
              </a:rPr>
              <a:t>Angaza</a:t>
            </a:r>
            <a:r>
              <a:rPr lang="en-US" sz="1400" dirty="0">
                <a:solidFill>
                  <a:srgbClr val="862624"/>
                </a:solidFill>
                <a:latin typeface="Garamond"/>
              </a:rPr>
              <a:t>, Gerald is a full-stack web developer and is proficient in python programming. Gerald is an </a:t>
            </a:r>
            <a:r>
              <a:rPr lang="en-US" sz="1400" dirty="0" err="1">
                <a:solidFill>
                  <a:srgbClr val="862624"/>
                </a:solidFill>
                <a:latin typeface="Garamond"/>
              </a:rPr>
              <a:t>Anzisha</a:t>
            </a:r>
            <a:r>
              <a:rPr lang="en-US" sz="1400" dirty="0">
                <a:solidFill>
                  <a:srgbClr val="862624"/>
                </a:solidFill>
                <a:latin typeface="Garamond"/>
              </a:rPr>
              <a:t> Fellow, a Tony Elumelu Entrepreneurship Fellow, and a One Young World Ambassador.</a:t>
            </a:r>
            <a:endParaRPr lang="en-US" sz="1400" dirty="0">
              <a:solidFill>
                <a:srgbClr val="FFFFFF"/>
              </a:solidFill>
              <a:latin typeface="Garamond"/>
            </a:endParaRPr>
          </a:p>
        </p:txBody>
      </p:sp>
      <p:sp>
        <p:nvSpPr>
          <p:cNvPr id="3" name="Rectangle 2"/>
          <p:cNvSpPr/>
          <p:nvPr/>
        </p:nvSpPr>
        <p:spPr>
          <a:xfrm>
            <a:off x="4524703" y="1671145"/>
            <a:ext cx="6448097" cy="2795752"/>
          </a:xfrm>
          <a:prstGeom prst="rect">
            <a:avLst/>
          </a:prstGeom>
          <a:solidFill>
            <a:srgbClr val="FFFCDC"/>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b="1" dirty="0">
                <a:solidFill>
                  <a:schemeClr val="tx1"/>
                </a:solidFill>
                <a:latin typeface="Garamond"/>
              </a:rPr>
              <a:t>NAME OF BUSINESS: </a:t>
            </a:r>
            <a:r>
              <a:rPr lang="en-US" dirty="0" err="1">
                <a:solidFill>
                  <a:schemeClr val="tx1"/>
                </a:solidFill>
                <a:latin typeface="Garamond"/>
              </a:rPr>
              <a:t>Angaza</a:t>
            </a:r>
            <a:r>
              <a:rPr lang="en-US" dirty="0">
                <a:solidFill>
                  <a:schemeClr val="tx1"/>
                </a:solidFill>
                <a:latin typeface="Garamond"/>
              </a:rPr>
              <a:t> Africa Technologies</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ACTIVITIES:</a:t>
            </a:r>
            <a:r>
              <a:rPr lang="en-US" b="1" dirty="0">
                <a:solidFill>
                  <a:srgbClr val="862624"/>
                </a:solidFill>
                <a:latin typeface="Garamond"/>
              </a:rPr>
              <a:t> </a:t>
            </a:r>
            <a:r>
              <a:rPr lang="en-US" dirty="0" err="1">
                <a:solidFill>
                  <a:schemeClr val="tx1"/>
                </a:solidFill>
                <a:latin typeface="Garamond"/>
              </a:rPr>
              <a:t>Angaza</a:t>
            </a:r>
            <a:r>
              <a:rPr lang="en-US" dirty="0">
                <a:solidFill>
                  <a:schemeClr val="tx1"/>
                </a:solidFill>
                <a:latin typeface="Garamond"/>
              </a:rPr>
              <a:t> Africa </a:t>
            </a:r>
            <a:r>
              <a:rPr lang="en-US" dirty="0" err="1">
                <a:solidFill>
                  <a:schemeClr val="tx1"/>
                </a:solidFill>
                <a:latin typeface="Garamond"/>
              </a:rPr>
              <a:t>Technologie</a:t>
            </a:r>
            <a:r>
              <a:rPr lang="en-US" dirty="0">
                <a:solidFill>
                  <a:schemeClr val="tx1"/>
                </a:solidFill>
                <a:latin typeface="Garamond"/>
              </a:rPr>
              <a:t> focuses on the fabrication of briquette-machines, the construction of solid waste carbonization kilns, and the processing of biomass briquettes.  </a:t>
            </a:r>
            <a:endParaRPr lang="en-US" dirty="0">
              <a:solidFill>
                <a:schemeClr val="tx1"/>
              </a:solidFill>
              <a:latin typeface="Garamond" panose="02020404030301010803" pitchFamily="18" charset="0"/>
            </a:endParaRPr>
          </a:p>
          <a:p>
            <a:pPr lvl="1"/>
            <a:r>
              <a:rPr lang="en-US" b="1" dirty="0">
                <a:solidFill>
                  <a:schemeClr val="tx1"/>
                </a:solidFill>
                <a:latin typeface="Garamond"/>
              </a:rPr>
              <a:t>BUSINESS LOCATION: </a:t>
            </a:r>
            <a:r>
              <a:rPr lang="en-US" dirty="0">
                <a:solidFill>
                  <a:schemeClr val="tx1"/>
                </a:solidFill>
                <a:latin typeface="Garamond" panose="02020404030301010803" pitchFamily="18" charset="0"/>
              </a:rPr>
              <a:t>Kenya</a:t>
            </a:r>
          </a:p>
          <a:p>
            <a:pPr lvl="1"/>
            <a:r>
              <a:rPr lang="en-US" b="1" dirty="0">
                <a:solidFill>
                  <a:schemeClr val="tx1"/>
                </a:solidFill>
                <a:latin typeface="Garamond" panose="02020404030301010803" pitchFamily="18" charset="0"/>
              </a:rPr>
              <a:t>JOBS CREATED (Full &amp; Part Time): </a:t>
            </a:r>
            <a:r>
              <a:rPr lang="en-US" dirty="0">
                <a:solidFill>
                  <a:schemeClr val="tx1"/>
                </a:solidFill>
                <a:latin typeface="Garamond" panose="02020404030301010803" pitchFamily="18" charset="0"/>
              </a:rPr>
              <a:t>10</a:t>
            </a:r>
            <a:endParaRPr lang="en-US" dirty="0">
              <a:solidFill>
                <a:schemeClr val="tx1"/>
              </a:solidFill>
              <a:latin typeface="Garamond"/>
            </a:endParaRPr>
          </a:p>
        </p:txBody>
      </p:sp>
      <p:sp>
        <p:nvSpPr>
          <p:cNvPr id="4" name="Rectangular Callout 3"/>
          <p:cNvSpPr/>
          <p:nvPr/>
        </p:nvSpPr>
        <p:spPr>
          <a:xfrm>
            <a:off x="1049483" y="4698125"/>
            <a:ext cx="3217715" cy="1786759"/>
          </a:xfrm>
          <a:prstGeom prst="wedgeRectCallout">
            <a:avLst>
              <a:gd name="adj1" fmla="val -22930"/>
              <a:gd name="adj2" fmla="val -60441"/>
            </a:avLst>
          </a:prstGeom>
          <a:solidFill>
            <a:srgbClr val="BBA869"/>
          </a:solidFill>
          <a:ln>
            <a:solidFill>
              <a:srgbClr val="BBA8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Garamond" panose="02020404030301010803" pitchFamily="18" charset="0"/>
              </a:rPr>
              <a:t>CONTACT DETAILS</a:t>
            </a:r>
          </a:p>
          <a:p>
            <a:r>
              <a:rPr lang="en-ZA" sz="1400" b="1" dirty="0">
                <a:solidFill>
                  <a:schemeClr val="tx1"/>
                </a:solidFill>
                <a:latin typeface="Garamond"/>
              </a:rPr>
              <a:t>Contact: </a:t>
            </a:r>
            <a:r>
              <a:rPr lang="en-ZA" sz="1400" dirty="0">
                <a:solidFill>
                  <a:schemeClr val="tx1"/>
                </a:solidFill>
                <a:latin typeface="Garamond"/>
              </a:rPr>
              <a:t>Gerald </a:t>
            </a:r>
            <a:r>
              <a:rPr lang="en-ZA" sz="1400" dirty="0" err="1">
                <a:solidFill>
                  <a:schemeClr val="tx1"/>
                </a:solidFill>
                <a:latin typeface="Garamond"/>
              </a:rPr>
              <a:t>Matolo</a:t>
            </a:r>
            <a:endParaRPr lang="en-ZA" sz="1400" dirty="0">
              <a:solidFill>
                <a:schemeClr val="tx1"/>
              </a:solidFill>
              <a:latin typeface="Garamond" panose="02020404030301010803" pitchFamily="18" charset="0"/>
            </a:endParaRPr>
          </a:p>
          <a:p>
            <a:r>
              <a:rPr lang="en-ZA" sz="1400" b="1" dirty="0">
                <a:solidFill>
                  <a:schemeClr val="tx1"/>
                </a:solidFill>
                <a:latin typeface="Garamond"/>
              </a:rPr>
              <a:t>Website: </a:t>
            </a:r>
            <a:r>
              <a:rPr lang="en-ZA" sz="1400" dirty="0">
                <a:solidFill>
                  <a:schemeClr val="tx1"/>
                </a:solidFill>
                <a:latin typeface="Garamond" panose="02020404030301010803" pitchFamily="18" charset="0"/>
                <a:hlinkClick r:id="rId9"/>
              </a:rPr>
              <a:t>https://facebook.com/AngazaEnergy</a:t>
            </a:r>
            <a:r>
              <a:rPr lang="en-ZA" sz="1400" dirty="0">
                <a:solidFill>
                  <a:schemeClr val="tx1"/>
                </a:solidFill>
                <a:latin typeface="Garamond" panose="02020404030301010803" pitchFamily="18" charset="0"/>
              </a:rPr>
              <a:t> </a:t>
            </a:r>
          </a:p>
          <a:p>
            <a:r>
              <a:rPr lang="en-ZA" sz="1400" b="1" dirty="0">
                <a:solidFill>
                  <a:schemeClr val="tx1"/>
                </a:solidFill>
                <a:latin typeface="Garamond"/>
              </a:rPr>
              <a:t>Email: </a:t>
            </a:r>
            <a:r>
              <a:rPr lang="en-ZA" sz="1400" dirty="0">
                <a:solidFill>
                  <a:schemeClr val="tx1"/>
                </a:solidFill>
                <a:latin typeface="Garamond"/>
                <a:hlinkClick r:id="rId10" action="ppaction://hlinksldjump"/>
              </a:rPr>
              <a:t>geraldmuli7@gmail.com</a:t>
            </a:r>
            <a:endParaRPr lang="en-ZA" sz="1400" dirty="0">
              <a:solidFill>
                <a:schemeClr val="tx1"/>
              </a:solidFill>
              <a:latin typeface="Garamond"/>
            </a:endParaRPr>
          </a:p>
          <a:p>
            <a:r>
              <a:rPr lang="en-ZA" sz="1400" b="1" dirty="0">
                <a:solidFill>
                  <a:schemeClr val="tx1"/>
                </a:solidFill>
                <a:latin typeface="Garamond"/>
              </a:rPr>
              <a:t> WhatsApp: </a:t>
            </a:r>
            <a:r>
              <a:rPr lang="en-ZA" sz="1400" dirty="0">
                <a:solidFill>
                  <a:schemeClr val="tx1"/>
                </a:solidFill>
                <a:latin typeface="Garamond"/>
              </a:rPr>
              <a:t>+254 719 749 633</a:t>
            </a:r>
            <a:endParaRPr lang="en-GB" sz="1400" dirty="0">
              <a:solidFill>
                <a:schemeClr val="tx1"/>
              </a:solidFill>
              <a:latin typeface="Garamond"/>
            </a:endParaRPr>
          </a:p>
        </p:txBody>
      </p:sp>
    </p:spTree>
    <p:extLst>
      <p:ext uri="{BB962C8B-B14F-4D97-AF65-F5344CB8AC3E}">
        <p14:creationId xmlns:p14="http://schemas.microsoft.com/office/powerpoint/2010/main" val="40038983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pfBtVdl16dBRw8jxYFHr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FcIDPHSUZGvGmAkFeh3M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UJWbbBBPiqEQ6jgiE26E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jjuwausBM75N7RRSxEQM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djqSbdKoRtI8muJapiM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xxbSk.boqo0EoS4_G5l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r0Z3fvYkaNUXusM19nQO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4ny6gbASqMCdu5YyE6Wz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8V7OXH6Hy_.Yejp2VOIwQ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a7vaNZDCr.bNLKMw3u.u0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2W0UgsHq41karDlbQrWP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tWgofGMTdg7x_pULWxOC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2IIcerHCnrWxlOhO75mT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YPwaPUUxKFqLM8hH1OAZ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xJJGQfpyKQVtj7CHyL_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lWUgQHLekNvSLWAdj033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8iyh_oPSyPQ0rbuFVMoCg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J6UGIu8XKI3X_waJX2Xy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6BxUeBUi2mXbdgQSZToiS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vkknP0o1QQ_q.OVWXD3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8bA.OYzr4ebxEuMJCi1Y0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55SZMVc0GNi0l_UxtKpcl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KtUSVnjwUxMSENEhIjkd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Ewr94AS_GnZNL8FBwjrW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XQg9rIy7QwrcwjJvZNn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u9sASvrb.65vqATi_CTZ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Ap2IPmIr6H5szk6A7Rs4I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RE8eUe_t_fp0ayi0IhiX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ot3UQCtsH8AuFIVDqtP8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H6GDv.wk.v6hzYf7plvE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Q_kzatyMW_hGuD2qmE6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NoMq5APCZFDGN9qBlSLb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hwzOiZkCV56oWAZ5boGr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jg06c9m9SwG_HX.EMzrn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1gJth6bb8a._b2iEg6C0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ypjhmzDHZ5adp9LGYZ7M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yATcPtBpcDoeitEF7A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2avYeFrR1RdmVSKFkgFd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LpQKbUAcz1JQkCYSvL9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NLGfONzZhAUDXabcos_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x3qeWp2g41mq614QL0r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_ycpsH_UCmMzIbhvXLq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lEhm1BLbCa59Ox59ZMH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kLFAVdb2d2vIPLl.4d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ZUupbkhib0z3zMEsipA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F7ZS4R5ikMJfvZzketD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9gAvZJz5_rpWZJE_R1z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Ns3K31KDmaf72_S8qyA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w4nlcn9Lcuco1GmedRM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_8YB3iKpXu.etRoI5ZHk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iBZDI1emNeSzzhGjARCX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E63kqOcja0o3KimvJIua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kVNDwp94Muu7nmZZqev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rt6Na1xqFYvr5w4BG3s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wH6lG5qHUMvjTIG1g8L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HWZ0Cv0o.Eo3vBrYzKw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6XVW2gsjj3GOAv3zW42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alGaD4.7RbOkRArvACj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YDL3cjaOBJk1heOGeSDq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qe8XJr8U8N9e3ZYgZhP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GqMwLEERBUtY8jgvk5g9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evGAbvaOdkBxiGFFqywn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dkwdKQD7kofLUtsM10E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WsYHGgkJ_O8yWO8a4YRe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WsYHGgkJ_O8yWO8a4YR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vuZNO0EvKYkx9I2Ioqxy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NhOrAViAjNtMpkX9q3S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c911v2QjwVy8C0OSzRj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1tbSdl.9dW7XJD1UtsJS8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vJQpaqy3pwCTfD48iwYW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7ArTqUgrGe1z6AH7TCav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4pmiSfI6b_hjlbm_FcM5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Ek3hGPTbDb1qrE2qZcwE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55JOULlF2I5HkVZMhdJ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mi.Ky11dt1Uo0wabjnBB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uBtPX3f_8irLqbNwZTsT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uDrOEOCEeSSgRwdYbxio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9tVzT6tZLfm6xteNInm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STK6kgsA_v1kLHYy0Zp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Oe4Gq4e11gDPiqbmv42P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BcqBzzIwqwAB7QFrlwbO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Jgg7nIK2H0c6ESK4bk.k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I4.OWvlFrGNlXR84hhR2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ALA Colours 4">
      <a:dk1>
        <a:sysClr val="windowText" lastClr="000000"/>
      </a:dk1>
      <a:lt1>
        <a:sysClr val="window" lastClr="FFFFFF"/>
      </a:lt1>
      <a:dk2>
        <a:srgbClr val="000000"/>
      </a:dk2>
      <a:lt2>
        <a:srgbClr val="F8F8F8"/>
      </a:lt2>
      <a:accent1>
        <a:srgbClr val="862624"/>
      </a:accent1>
      <a:accent2>
        <a:srgbClr val="DACFAE"/>
      </a:accent2>
      <a:accent3>
        <a:srgbClr val="FFFCDC"/>
      </a:accent3>
      <a:accent4>
        <a:srgbClr val="B9A768"/>
      </a:accent4>
      <a:accent5>
        <a:srgbClr val="FFF591"/>
      </a:accent5>
      <a:accent6>
        <a:srgbClr val="431311"/>
      </a:accent6>
      <a:hlink>
        <a:srgbClr val="0070C0"/>
      </a:hlink>
      <a:folHlink>
        <a:srgbClr val="919191"/>
      </a:folHlink>
    </a:clrScheme>
    <a:fontScheme name="Custom 3">
      <a:majorFont>
        <a:latin typeface="Adobe Caslon Pro"/>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latin typeface="Garamond" panose="02020404030301010803" pitchFamily="18"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303</TotalTime>
  <Words>10084</Words>
  <Application>Microsoft Office PowerPoint</Application>
  <PresentationFormat>Widescreen</PresentationFormat>
  <Paragraphs>1061</Paragraphs>
  <Slides>87</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95" baseType="lpstr">
      <vt:lpstr>Adobe Caslon Pro</vt:lpstr>
      <vt:lpstr>Adobe Garamond Pro</vt:lpstr>
      <vt:lpstr>Arial</vt:lpstr>
      <vt:lpstr>Calibri</vt:lpstr>
      <vt:lpstr>Garamond</vt:lpstr>
      <vt:lpstr>Open Sans</vt:lpstr>
      <vt:lpstr>1_Office Theme</vt:lpstr>
      <vt:lpstr>think-cell Slide</vt:lpstr>
      <vt:lpstr>PowerPoint Presentation</vt:lpstr>
      <vt:lpstr>COVID - 19 BUSINESSES SUPPORT:</vt:lpstr>
      <vt:lpstr>Want to assist but not sure how? Some Ideas </vt:lpstr>
      <vt:lpstr>Asia Saed– 2Doon: Youth development</vt:lpstr>
      <vt:lpstr>Isaac Oboth – African Storytellers: Film-makers</vt:lpstr>
      <vt:lpstr>Khondwani Banda – Afford-a-Baby: Affordable children’s clothing</vt:lpstr>
      <vt:lpstr>Aldred Dogue – Africa Foods Mill Ltd: Pre-cooked fruits &amp; vegetables </vt:lpstr>
      <vt:lpstr>Yaw Duffour – Agripool: Social crowd-farming platform</vt:lpstr>
      <vt:lpstr>Gerald Matolo – Angaza Africa Technologies: Briquette production</vt:lpstr>
      <vt:lpstr>Ignatius Ahumuza – Art Planet Academy: Agricultural training</vt:lpstr>
      <vt:lpstr>Olipah Chomba– Apex Poultry: Poultry enterprise</vt:lpstr>
      <vt:lpstr>Osvaldo Mokouma – AquagriTech: Agri-Tech and food supply</vt:lpstr>
      <vt:lpstr>Asha Abbas Kombo – Aura Teens: Health awareness</vt:lpstr>
      <vt:lpstr>Victoria Olimatunde – BizKids: Financial literacy board game</vt:lpstr>
      <vt:lpstr>Kolawole Olajide – BridgeLabs: Software development</vt:lpstr>
      <vt:lpstr>Emmanuel Agyei – Campus Trends Ghana: Marketing &amp; communications</vt:lpstr>
      <vt:lpstr>Velache Coker – Canaan Farm Limited: Agri-Tech company</vt:lpstr>
      <vt:lpstr>Jessan Persand – Crab Aquaculture: Seafood supplier</vt:lpstr>
      <vt:lpstr>Mabel Suglo – Dignified Wear: Clothing  </vt:lpstr>
      <vt:lpstr>Cecil Chikezie– Eco Makaa: Charcoal briquettes</vt:lpstr>
      <vt:lpstr>Yaye Souadou Fall – E-Cover: Artificial grounds manufacturing</vt:lpstr>
      <vt:lpstr>Fabrice Alomo – Epher Foundation: Financial platform </vt:lpstr>
      <vt:lpstr>Chamsiya Lamine – E3D-NIGER: Agriculture and cosmetics</vt:lpstr>
      <vt:lpstr>Awah Ntseh – Farmer’s Forte: Skincare manufacturer</vt:lpstr>
      <vt:lpstr>Kevin Kibet – FarmMoja: Avocado farming</vt:lpstr>
      <vt:lpstr>Heritiana Randriamananatahina– Fiombonana: Agro-processing </vt:lpstr>
      <vt:lpstr>Domitila Silayo – FixChap: Home and office repair services</vt:lpstr>
      <vt:lpstr>Rebecca Andrianarisandy – GasGasy: Bio-compost and bio-gas </vt:lpstr>
      <vt:lpstr>Christian Tesfaye – GebeyaNet: Agricultural E-Commerce</vt:lpstr>
      <vt:lpstr>Godiragetse Mogajane – Goodie Tutors: Tutoring services</vt:lpstr>
      <vt:lpstr>Edgar Edmund – Green Venture Tanzania: Recycled construction material</vt:lpstr>
      <vt:lpstr>Ludwick Marishane – DryBath (Pty) Ltd: Waterless body wash gel</vt:lpstr>
      <vt:lpstr>Alain Nteff – Healthlane: Maternal health information platform</vt:lpstr>
      <vt:lpstr>Kisseka Samson – Hello Mushroom: Oyster mushrooms</vt:lpstr>
      <vt:lpstr>Marvellous Nyongoro – Housing Hub: Off-campus accommodation</vt:lpstr>
      <vt:lpstr>Balbina Gulam – Huduma Smart: Domestic worker services</vt:lpstr>
      <vt:lpstr>Fadwa Moussaif – IDYR: Fashion accessories business</vt:lpstr>
      <vt:lpstr>Melissa Bime – Infiuss: Online blood bank</vt:lpstr>
      <vt:lpstr>Caleb Annobil – IYC Life Company: Customised sachet water</vt:lpstr>
      <vt:lpstr>Mamadjang Jallow – Jallow Trading: Horticultural products supplier</vt:lpstr>
      <vt:lpstr>Farah Emara – JIDAR: Indoor &amp; outdoor tailored wall art services</vt:lpstr>
      <vt:lpstr>Graff Accrombessi – Kawan Africa: Food processing company</vt:lpstr>
      <vt:lpstr>Yannick Kimanuka – KIM'S: Kindergarten &amp; primary education</vt:lpstr>
      <vt:lpstr>Karidas Tshintsholo– KHULA!: Platform connecting farmers and buyers</vt:lpstr>
      <vt:lpstr>Issam Darui – Lagare.me: Digital bus ticket booking platform</vt:lpstr>
      <vt:lpstr>Lourena Bundi– L&amp;C Buffet Infantil: Event management</vt:lpstr>
      <vt:lpstr>Jesse Forrester – Mazi: Green technology catalysing the transport industry</vt:lpstr>
      <vt:lpstr>Andrew Ddembe – MobiKlinic: Healthcare provider for rural areas</vt:lpstr>
      <vt:lpstr>Noah Walakira – Namirembe Sweater Makers: School uniform manufacturer</vt:lpstr>
      <vt:lpstr>Satta Wahab – Naz Naturals: Natural hair-care manufacturer</vt:lpstr>
      <vt:lpstr>Thando Hlongwane– Nisa Finance: Automating loan applications</vt:lpstr>
      <vt:lpstr>Benedict Ampofo – Nova Agrisystems: Agriculture</vt:lpstr>
      <vt:lpstr>George Bakka– Patasente: Neobank for businesses</vt:lpstr>
      <vt:lpstr>Chukwuwezam Obanor – PrepClass: Tutoring services</vt:lpstr>
      <vt:lpstr>David Morfaw – Poult Vault: Poultry services company</vt:lpstr>
      <vt:lpstr>Raghda Medhat – Remoteplatz Egypt: Digital recruitment platform</vt:lpstr>
      <vt:lpstr>Gabriel Kombassere – Ribla Neda: Organic Food processing</vt:lpstr>
      <vt:lpstr>Daniel Musika – RideLink: B2B transport sharing network</vt:lpstr>
      <vt:lpstr>Mahmood Oyewo – RubiQube: Engagement-based advertising platform</vt:lpstr>
      <vt:lpstr>Alhaji Siraj Bah–  Rugsal Trading: Briquettes, paper bags and poultry</vt:lpstr>
      <vt:lpstr>Farai Munjoma– Shasha Network: Digital learning platform</vt:lpstr>
      <vt:lpstr>Mohamed Sherif – Sherif Ice Flakes: Refrigeration for fresh seafood</vt:lpstr>
      <vt:lpstr>Chris Kwekowe– Slatecube: SaaS-based talent accelerator </vt:lpstr>
      <vt:lpstr>George Mtemahanji – SunSweet Solar: Energy and Solar company</vt:lpstr>
      <vt:lpstr>Ifrah Arab– Supermom: Empowering underemployed women</vt:lpstr>
      <vt:lpstr>Bénédicte Mundele – Surprise Tropicale: Fresh fruits and Vegetables </vt:lpstr>
      <vt:lpstr>Boluwatife Omotoyo – Tab Ng: Digital repairs and services</vt:lpstr>
      <vt:lpstr>Geoffrey Mulei – Tanda: Digital financial services</vt:lpstr>
      <vt:lpstr>Wuntia Gomda – The Living Machine: Biological waste water treatment plan</vt:lpstr>
      <vt:lpstr>Aly Abdelazem – Teens Club: Youth skills development</vt:lpstr>
      <vt:lpstr>Khaled Aboshady – Teradix: Online procurement platform </vt:lpstr>
      <vt:lpstr>Faustino Quissico– TQ Group Services: Hardwood flooring</vt:lpstr>
      <vt:lpstr>Abdulwaheed Alayande – TrepLabs: Builds low-cost clinical tools</vt:lpstr>
      <vt:lpstr>Saudah Birungi – Tusafishe: Automated low-cost water filters</vt:lpstr>
      <vt:lpstr>Koffi N’guessan – TYEGRO-CI: Agri-food supplier</vt:lpstr>
      <vt:lpstr>Joan Nalubega– Uganics: Mosquito repellent soap and products</vt:lpstr>
      <vt:lpstr>Ibrahima Konate – Volaille d'Or: Poultry &amp; agri-foods supplier</vt:lpstr>
      <vt:lpstr>Emmanuel Okon– Vmedkit: Mental health services</vt:lpstr>
      <vt:lpstr>Catherine Nalukwago – Vertical and Micro Gardening: Agricultural Inputs</vt:lpstr>
      <vt:lpstr>Elizabeth Skosana– We Like Cake: Cakery</vt:lpstr>
      <vt:lpstr>Chineyenwa Onu – Waste or Create Hub: Space for sustainable innovations</vt:lpstr>
      <vt:lpstr>Thowiba Alhaj – Vintage: Clothing brand</vt:lpstr>
      <vt:lpstr>Andrew Mupuya – YELI: Manufacturer of paper envelopes &amp; grocery bags</vt:lpstr>
      <vt:lpstr>Vanessa Ishimwe – YIDA: Early childhood education </vt:lpstr>
      <vt:lpstr>Jariatou Jallow – Yonima Errands Runner: Administration &amp; delivery service</vt:lpstr>
      <vt:lpstr>Alina Karimamusama – Yoni Wash: Feminine hygiene product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hle Magubane</dc:creator>
  <cp:lastModifiedBy>Melissa Mbazo</cp:lastModifiedBy>
  <cp:revision>2707</cp:revision>
  <dcterms:created xsi:type="dcterms:W3CDTF">2017-07-03T07:55:28Z</dcterms:created>
  <dcterms:modified xsi:type="dcterms:W3CDTF">2020-05-05T10:21:26Z</dcterms:modified>
</cp:coreProperties>
</file>